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7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8.xml" ContentType="application/vnd.openxmlformats-officedocument.presentationml.notesSlide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notesSlides/notesSlide10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1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3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5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6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17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18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9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6" r:id="rId24"/>
    <p:sldMasterId id="2147483841" r:id="rId25"/>
  </p:sldMasterIdLst>
  <p:notesMasterIdLst>
    <p:notesMasterId r:id="rId51"/>
  </p:notesMasterIdLst>
  <p:handoutMasterIdLst>
    <p:handoutMasterId r:id="rId52"/>
  </p:handoutMasterIdLst>
  <p:sldIdLst>
    <p:sldId id="256" r:id="rId26"/>
    <p:sldId id="3536" r:id="rId27"/>
    <p:sldId id="3506" r:id="rId28"/>
    <p:sldId id="5064" r:id="rId29"/>
    <p:sldId id="864" r:id="rId30"/>
    <p:sldId id="5065" r:id="rId31"/>
    <p:sldId id="3521" r:id="rId32"/>
    <p:sldId id="5066" r:id="rId33"/>
    <p:sldId id="5055" r:id="rId34"/>
    <p:sldId id="3590" r:id="rId35"/>
    <p:sldId id="3593" r:id="rId36"/>
    <p:sldId id="3577" r:id="rId37"/>
    <p:sldId id="5021" r:id="rId38"/>
    <p:sldId id="5047" r:id="rId39"/>
    <p:sldId id="4992" r:id="rId40"/>
    <p:sldId id="5009" r:id="rId41"/>
    <p:sldId id="5008" r:id="rId42"/>
    <p:sldId id="5010" r:id="rId43"/>
    <p:sldId id="781" r:id="rId44"/>
    <p:sldId id="5067" r:id="rId45"/>
    <p:sldId id="5025" r:id="rId46"/>
    <p:sldId id="5068" r:id="rId47"/>
    <p:sldId id="3494" r:id="rId48"/>
    <p:sldId id="5069" r:id="rId49"/>
    <p:sldId id="5057" r:id="rId50"/>
  </p:sldIdLst>
  <p:sldSz cx="12192000" cy="6858000"/>
  <p:notesSz cx="7315200" cy="9601200"/>
  <p:custDataLst>
    <p:tags r:id="rId5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3D3DD46-5058-4949-9AA0-F2BF950AB391}">
          <p14:sldIdLst>
            <p14:sldId id="256"/>
            <p14:sldId id="3536"/>
            <p14:sldId id="3506"/>
            <p14:sldId id="5064"/>
            <p14:sldId id="864"/>
            <p14:sldId id="5065"/>
            <p14:sldId id="3521"/>
            <p14:sldId id="5066"/>
            <p14:sldId id="5055"/>
          </p14:sldIdLst>
        </p14:section>
        <p14:section name="Default Section" id="{8947494E-A868-4968-9E33-99FE4EC708E8}">
          <p14:sldIdLst>
            <p14:sldId id="3590"/>
            <p14:sldId id="3593"/>
            <p14:sldId id="3577"/>
            <p14:sldId id="5021"/>
            <p14:sldId id="5047"/>
            <p14:sldId id="4992"/>
            <p14:sldId id="5009"/>
            <p14:sldId id="5008"/>
            <p14:sldId id="5010"/>
            <p14:sldId id="781"/>
            <p14:sldId id="5067"/>
            <p14:sldId id="5025"/>
            <p14:sldId id="5068"/>
            <p14:sldId id="3494"/>
            <p14:sldId id="5069"/>
            <p14:sldId id="5057"/>
          </p14:sldIdLst>
        </p14:section>
      </p14:sectionLst>
    </p:ext>
    <p:ext uri="{EFAFB233-063F-42B5-8137-9DF3F51BA10A}">
      <p15:sldGuideLst xmlns:p15="http://schemas.microsoft.com/office/powerpoint/2012/main">
        <p15:guide id="16" orient="horz" pos="1457" userDrawn="1">
          <p15:clr>
            <a:srgbClr val="A4A3A4"/>
          </p15:clr>
        </p15:guide>
        <p15:guide id="17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66"/>
    <a:srgbClr val="FFFFFF"/>
    <a:srgbClr val="014693"/>
    <a:srgbClr val="004F8B"/>
    <a:srgbClr val="000000"/>
    <a:srgbClr val="92D050"/>
    <a:srgbClr val="0166CB"/>
    <a:srgbClr val="ED8013"/>
    <a:srgbClr val="A3B3D0"/>
    <a:srgbClr val="DB29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9338" autoAdjust="0"/>
  </p:normalViewPr>
  <p:slideViewPr>
    <p:cSldViewPr snapToGrid="0">
      <p:cViewPr varScale="1">
        <p:scale>
          <a:sx n="94" d="100"/>
          <a:sy n="94" d="100"/>
        </p:scale>
        <p:origin x="1116" y="78"/>
      </p:cViewPr>
      <p:guideLst>
        <p:guide orient="horz" pos="145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1.xml"/><Relationship Id="rId39" Type="http://schemas.openxmlformats.org/officeDocument/2006/relationships/slide" Target="slides/slide14.xml"/><Relationship Id="rId21" Type="http://schemas.openxmlformats.org/officeDocument/2006/relationships/customXml" Target="../customXml/item21.xml"/><Relationship Id="rId34" Type="http://schemas.openxmlformats.org/officeDocument/2006/relationships/slide" Target="slides/slide9.xml"/><Relationship Id="rId42" Type="http://schemas.openxmlformats.org/officeDocument/2006/relationships/slide" Target="slides/slide17.xml"/><Relationship Id="rId47" Type="http://schemas.openxmlformats.org/officeDocument/2006/relationships/slide" Target="slides/slide22.xml"/><Relationship Id="rId50" Type="http://schemas.openxmlformats.org/officeDocument/2006/relationships/slide" Target="slides/slide25.xml"/><Relationship Id="rId55" Type="http://schemas.openxmlformats.org/officeDocument/2006/relationships/viewProps" Target="view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Master" Target="slideMasters/slideMaster2.xml"/><Relationship Id="rId33" Type="http://schemas.openxmlformats.org/officeDocument/2006/relationships/slide" Target="slides/slide8.xml"/><Relationship Id="rId38" Type="http://schemas.openxmlformats.org/officeDocument/2006/relationships/slide" Target="slides/slide13.xml"/><Relationship Id="rId46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4.xml"/><Relationship Id="rId41" Type="http://schemas.openxmlformats.org/officeDocument/2006/relationships/slide" Target="slides/slide16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Master" Target="slideMasters/slideMaster1.xml"/><Relationship Id="rId32" Type="http://schemas.openxmlformats.org/officeDocument/2006/relationships/slide" Target="slides/slide7.xml"/><Relationship Id="rId37" Type="http://schemas.openxmlformats.org/officeDocument/2006/relationships/slide" Target="slides/slide12.xml"/><Relationship Id="rId40" Type="http://schemas.openxmlformats.org/officeDocument/2006/relationships/slide" Target="slides/slide15.xml"/><Relationship Id="rId45" Type="http://schemas.openxmlformats.org/officeDocument/2006/relationships/slide" Target="slides/slide20.xml"/><Relationship Id="rId53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" Target="slides/slide3.xml"/><Relationship Id="rId36" Type="http://schemas.openxmlformats.org/officeDocument/2006/relationships/slide" Target="slides/slide11.xml"/><Relationship Id="rId49" Type="http://schemas.openxmlformats.org/officeDocument/2006/relationships/slide" Target="slides/slide24.xml"/><Relationship Id="rId57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6.xml"/><Relationship Id="rId44" Type="http://schemas.openxmlformats.org/officeDocument/2006/relationships/slide" Target="slides/slide19.xml"/><Relationship Id="rId52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" Target="slides/slide2.xml"/><Relationship Id="rId30" Type="http://schemas.openxmlformats.org/officeDocument/2006/relationships/slide" Target="slides/slide5.xml"/><Relationship Id="rId35" Type="http://schemas.openxmlformats.org/officeDocument/2006/relationships/slide" Target="slides/slide10.xml"/><Relationship Id="rId43" Type="http://schemas.openxmlformats.org/officeDocument/2006/relationships/slide" Target="slides/slide18.xml"/><Relationship Id="rId48" Type="http://schemas.openxmlformats.org/officeDocument/2006/relationships/slide" Target="slides/slide23.xml"/><Relationship Id="rId56" Type="http://schemas.openxmlformats.org/officeDocument/2006/relationships/theme" Target="theme/theme1.xml"/><Relationship Id="rId8" Type="http://schemas.openxmlformats.org/officeDocument/2006/relationships/customXml" Target="../customXml/item8.xml"/><Relationship Id="rId51" Type="http://schemas.openxmlformats.org/officeDocument/2006/relationships/notesMaster" Target="notesMasters/notesMaster1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3/18/2021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9T07:29:36.480"/>
    </inkml:context>
    <inkml:brush xml:id="br0">
      <inkml:brushProperty name="width" value="0.1" units="cm"/>
      <inkml:brushProperty name="height" value="0.1" units="cm"/>
      <inkml:brushProperty name="color" value="#004F8B"/>
      <inkml:brushProperty name="ignorePressure" value="1"/>
    </inkml:brush>
  </inkml:definitions>
  <inkml:trace contextRef="#ctx0" brushRef="#br0">801 1,'0'0,"9"6,20 12,0-2,1-1,1-2,0-1,1-1,16 2,62 12,31 0,-57-11,60 13,0 6,-2 6,111 49,-176-56,-2 3,-2 3,-1 3,-2 4,-2 2,-3 4,33 32,-66-51,-2 1,-1 1,-2 1,-1 2,-2 0,-1 2,6 18,0 8,-4 1,-2 1,-3 1,2 24,133 590,-138-609,-4 0,-3 1,0 47,-9-84,-2 0,-2-1,-1 1,-2-1,-1 0,-2-1,-2 0,-6 13,5-19,-1-1,-1-1,-2 0,-1-1,-1-1,-1 0,-1-2,-1 0,-5 3,-4 1,-1-3,-1 0,-2-2,0-1,-1-2,-34 13,-30 7,-1-4,-86 17,-212 32,150-35,-8 13,130-23,0 5,-116 60,154-60,2 5,3 2,1 5,-26 26,72-50,1 2,2 2,1 1,2 1,2 1,1 2,2 1,2 2,-16 35,3 2,5 2,-21 84,43-131,3 1,0 0,2 7,2-22,-12 218,12 82,2-203,0-119,0 6,-2-7,0-3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8:09.314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3:09.564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3:09.565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4:43.400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4:43.401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5:30.244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5:30.245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5:53.539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5:53.540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9:03.524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9T07:29:38.695"/>
    </inkml:context>
    <inkml:brush xml:id="br0">
      <inkml:brushProperty name="width" value="0.1" units="cm"/>
      <inkml:brushProperty name="height" value="0.1" units="cm"/>
      <inkml:brushProperty name="color" value="#004F8B"/>
      <inkml:brushProperty name="ignorePressure" value="1"/>
    </inkml:brush>
  </inkml:definitions>
  <inkml:trace contextRef="#ctx0" brushRef="#br0">1 1,'17'2,"-33"-4,15 7,1 1,0-1,-1 1,2-1,-1 0,1 1,-1-1,2 1,23 94,5-2,3-1,12 15,-15-37,5 17,12 32,5-3,27 42,-78-161,0 0,0 0,-1-1,1 1,0 0,0 0,1 0,-1-1,0 1,1-1,-1 1,0-1,1 0,0 1,-1-1,1 0,0 0,0 0,0 0,-1 0,1 0,0-1,0 1,0-1,0 1,0-1,0 0,1 0,-1 0,0 0,0 0,0 0,5-4,0 1,0-1,-1 0,1 0,-1-1,0 0,0 0,2-3,-7 7,395-370,-326 31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9:03.525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9T07:22:09.760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9T07:22:09.761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9T07:24:28.723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2:51.063"/>
    </inkml:context>
    <inkml:brush xml:id="br0">
      <inkml:brushProperty name="width" value="0.20285" units="cm"/>
      <inkml:brushProperty name="height" value="0.20285" units="cm"/>
      <inkml:brushProperty name="color" value="#FF0000"/>
      <inkml:brushProperty name="ignorePressure" value="1"/>
      <inkml:brushProperty name="inkEffects" value="pencil"/>
    </inkml:brush>
  </inkml:definitions>
  <inkml:trace contextRef="#ctx0" brushRef="#br0">0 596,'4'-1,"6"-1,8-3,9-3,12-4,12-5,11-5,10-4,6-3,5-4,4-1,1 1,1 0,3 1,2 3,2 3,1 5,1 5,0 6,0 6,0 7,-2 7,-2 7,-2 7,-6 6,-5 5,-5 6,-7 3,-5 5,-6 1,-4 1,-3-1,-3-1,-1-2,0-2,-1-1,-1-4,0-4,-1-2,1-3,0-4,0-5,1-5,0-7,0-6,-1-7,-1-8,-3-5,-4-5,-5-3,-5-4,-7-1,-6-2,-5-3,-7-5,-6-10,-9-13,-9-11,-8-10,-6-2,-5 1,-3 6,-1 8,-1 10,1 11,0 12,0 10,1 12,1 11,1 10,1 10,4 7,5 8,6 5,6 4,7 2,8 5,9 6,10 7,11 6,12 3,11 0,11-4,8-7,8-8,4-9,5-8,3-8,2-7,3-6,2-6,1-4,2-3,2-4,1-1,1-2,0 0,1 0,0 0,-1 0,0 0,-1 1,0-2,-1-1,0-3,-1-4,0-6,-1-6,-2-6,-2-5,-3-6,-3-3,-5-1,-5-1,-5 3,-6 3,-5 5,-7 7,-6 8,-5 8,-4 10,-3 12,-1 13,0 15,-3 15,-2 15,-5 10,-6 6,-6 6,-8 2,-5 1,-6-1,-3-6,-1-11,1-13,0-13,2-12,2-10,1-10,0-9,-1-9,-3-14,-6-18,-7-21,-10-18,-10-14,-10-7,-10 1,-7 7,-6 11,-3 14,-1 14,0 14,4 13,4 11,4 9,5 9,5 9,5 9,5 9,6 10,6 8,7 7,6 6,8 5,7 3,7 4,9 5,9 5,10 1,9-1,10-6,9-9,6-10,6-11,3-11,3-10,1-9,0-9,3-10,2-9,4-12,3-11,3-11,1-7,0-6,-2-1,-2-1,-5 5,-4 5,-6 8,-5 8,-7 8,-4 8,-6 5,-6 5,-4 4,-5 2,-5 0,-4 2,-4 1,-4-2,-5 1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2:51.447"/>
    </inkml:context>
    <inkml:brush xml:id="br0">
      <inkml:brushProperty name="width" value="0.1" units="cm"/>
      <inkml:brushProperty name="height" value="0.6" units="cm"/>
      <inkml:brushProperty name="color" value="#FF0000"/>
      <inkml:brushProperty name="ignorePressure" value="1"/>
      <inkml:brushProperty name="inkEffects" value="pencil"/>
    </inkml:brush>
  </inkml:definitions>
  <inkml:trace contextRef="#ctx0" brushRef="#br0">0 1,'0'0,"0"0,3 3,5 5,8 8,12 10,11 7,8 8,4 2,-1 2,-5-3,-8-3,-8-5,-10-4,-7-3,-9 0,-9 5,-13 12,-16 16,-18 19,1-4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3:04.705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3:05.798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3:14.139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3:14.142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8:09.313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3/18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Hva er lønn og lønnsnær HR? (Eva)</a:t>
            </a:r>
            <a:br>
              <a:rPr lang="nb-NO"/>
            </a:br>
            <a:r>
              <a:rPr lang="nb-NO"/>
              <a:t>Hvem har deltatt (Eva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347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5" name="Google Shape;885;gb5c6239e4f_0_3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86" name="Google Shape;886;gb5c6239e4f_0_3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0794149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Tx/>
              <a:buChar char="-"/>
            </a:pP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25708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nb-NO">
                <a:solidFill>
                  <a:srgbClr val="FF0000"/>
                </a:solidFill>
              </a:rPr>
              <a:t>Viktig: i løsningsforslaget er det ikke vurdert hvor hvem og hvor mange som skal ha de forskjellige rollen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CE9826-A35B-49DD-8A3F-454B7E60E108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53444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0F5B51-7F4D-1A4A-9B73-B22C75CA4885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81478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0F5B51-7F4D-1A4A-9B73-B22C75CA4885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67204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Suksessfaktorer</a:t>
            </a:r>
            <a:r>
              <a:rPr lang="en-GB" dirty="0"/>
              <a:t> – </a:t>
            </a:r>
            <a:r>
              <a:rPr lang="en-GB" dirty="0" err="1"/>
              <a:t>faktorer</a:t>
            </a:r>
            <a:r>
              <a:rPr lang="en-GB" dirty="0"/>
              <a:t> </a:t>
            </a:r>
            <a:r>
              <a:rPr lang="en-GB" dirty="0" err="1"/>
              <a:t>som</a:t>
            </a:r>
            <a:r>
              <a:rPr lang="en-GB" dirty="0"/>
              <a:t> </a:t>
            </a:r>
            <a:r>
              <a:rPr lang="en-GB" dirty="0" err="1"/>
              <a:t>må</a:t>
            </a:r>
            <a:r>
              <a:rPr lang="en-GB" dirty="0"/>
              <a:t> til for å </a:t>
            </a:r>
            <a:r>
              <a:rPr lang="en-GB" dirty="0" err="1"/>
              <a:t>få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vellykket</a:t>
            </a:r>
            <a:r>
              <a:rPr lang="en-GB" dirty="0"/>
              <a:t> </a:t>
            </a:r>
            <a:r>
              <a:rPr lang="en-GB" dirty="0" err="1"/>
              <a:t>løsning</a:t>
            </a:r>
            <a:endParaRPr lang="en-GB" dirty="0"/>
          </a:p>
          <a:p>
            <a:r>
              <a:rPr lang="en-GB" dirty="0" err="1"/>
              <a:t>Suksesskriterier</a:t>
            </a:r>
            <a:r>
              <a:rPr lang="en-GB" dirty="0"/>
              <a:t> – </a:t>
            </a:r>
            <a:r>
              <a:rPr lang="en-GB" dirty="0" err="1"/>
              <a:t>kriterier</a:t>
            </a:r>
            <a:r>
              <a:rPr lang="en-GB" dirty="0"/>
              <a:t> for å </a:t>
            </a:r>
            <a:r>
              <a:rPr lang="en-GB" dirty="0" err="1"/>
              <a:t>kunne</a:t>
            </a:r>
            <a:r>
              <a:rPr lang="en-GB" dirty="0"/>
              <a:t> </a:t>
            </a:r>
            <a:r>
              <a:rPr lang="en-GB" dirty="0" err="1"/>
              <a:t>si</a:t>
            </a:r>
            <a:r>
              <a:rPr lang="en-GB" dirty="0"/>
              <a:t> at </a:t>
            </a:r>
            <a:r>
              <a:rPr lang="en-GB" dirty="0" err="1"/>
              <a:t>løsningen</a:t>
            </a:r>
            <a:r>
              <a:rPr lang="en-GB" dirty="0"/>
              <a:t> er </a:t>
            </a:r>
            <a:r>
              <a:rPr lang="en-GB" dirty="0" err="1"/>
              <a:t>vellykket</a:t>
            </a:r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0F5B51-7F4D-1A4A-9B73-B22C75CA4885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13464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0F5B51-7F4D-1A4A-9B73-B22C75CA4885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8754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3660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2B9380-F281-4D6C-8840-6EA95F8EE5CD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039095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202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1376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4104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8084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AA06FE-FD85-4F94-A508-555A8DF5A76A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2138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*) Det finnes også andre navn som beskriver samme metodikk og også forskjellige tilnærminger i forhold til f.eks. antall dager for gjennomføring. 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648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764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06394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5" name="Google Shape;885;gb5c6239e4f_0_3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86" name="Google Shape;886;gb5c6239e4f_0_3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18" Type="http://schemas.openxmlformats.org/officeDocument/2006/relationships/image" Target="../media/image14.png"/><Relationship Id="rId3" Type="http://schemas.openxmlformats.org/officeDocument/2006/relationships/tags" Target="../tags/tag5.xml"/><Relationship Id="rId21" Type="http://schemas.openxmlformats.org/officeDocument/2006/relationships/image" Target="../media/image17.png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17" Type="http://schemas.openxmlformats.org/officeDocument/2006/relationships/image" Target="../media/image13.png"/><Relationship Id="rId2" Type="http://schemas.openxmlformats.org/officeDocument/2006/relationships/tags" Target="../tags/tag4.xml"/><Relationship Id="rId16" Type="http://schemas.openxmlformats.org/officeDocument/2006/relationships/image" Target="../media/image12.png"/><Relationship Id="rId20" Type="http://schemas.openxmlformats.org/officeDocument/2006/relationships/image" Target="../media/image16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19" Type="http://schemas.openxmlformats.org/officeDocument/2006/relationships/image" Target="../media/image1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18" Type="http://schemas.openxmlformats.org/officeDocument/2006/relationships/image" Target="../media/image14.png"/><Relationship Id="rId3" Type="http://schemas.openxmlformats.org/officeDocument/2006/relationships/tags" Target="../tags/tag9.xml"/><Relationship Id="rId21" Type="http://schemas.openxmlformats.org/officeDocument/2006/relationships/image" Target="../media/image17.png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17" Type="http://schemas.openxmlformats.org/officeDocument/2006/relationships/image" Target="../media/image13.png"/><Relationship Id="rId2" Type="http://schemas.openxmlformats.org/officeDocument/2006/relationships/tags" Target="../tags/tag8.xml"/><Relationship Id="rId16" Type="http://schemas.openxmlformats.org/officeDocument/2006/relationships/image" Target="../media/image12.png"/><Relationship Id="rId20" Type="http://schemas.openxmlformats.org/officeDocument/2006/relationships/image" Target="../media/image16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19" Type="http://schemas.openxmlformats.org/officeDocument/2006/relationships/image" Target="../media/image15.pn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6896571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5929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53528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4054979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54FDAE8-DF3E-44A6-923F-86A696327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8488674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54FDAE8-DF3E-44A6-923F-86A696327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7488BDF-9175-4966-A647-FC041BAA93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1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8C0102-FC34-45E7-8E35-623BE49293AE}"/>
              </a:ext>
            </a:extLst>
          </p:cNvPr>
          <p:cNvSpPr/>
          <p:nvPr userDrawn="1"/>
        </p:nvSpPr>
        <p:spPr>
          <a:xfrm>
            <a:off x="0" y="6303264"/>
            <a:ext cx="4742688" cy="554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0A974298-B789-4DA3-914C-F62268FC71A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566077041"/>
              </p:ext>
            </p:extLst>
          </p:nvPr>
        </p:nvGraphicFramePr>
        <p:xfrm>
          <a:off x="401847" y="1385235"/>
          <a:ext cx="7844687" cy="5036016"/>
        </p:xfrm>
        <a:graphic>
          <a:graphicData uri="http://schemas.openxmlformats.org/drawingml/2006/table">
            <a:tbl>
              <a:tblPr firstCol="1" bandRow="1">
                <a:tableStyleId>{21E4AEA4-8DFA-4A89-87EB-49C32662AFE0}</a:tableStyleId>
              </a:tblPr>
              <a:tblGrid>
                <a:gridCol w="716815">
                  <a:extLst>
                    <a:ext uri="{9D8B030D-6E8A-4147-A177-3AD203B41FA5}">
                      <a16:colId xmlns:a16="http://schemas.microsoft.com/office/drawing/2014/main" val="3468370360"/>
                    </a:ext>
                  </a:extLst>
                </a:gridCol>
                <a:gridCol w="7127872">
                  <a:extLst>
                    <a:ext uri="{9D8B030D-6E8A-4147-A177-3AD203B41FA5}">
                      <a16:colId xmlns:a16="http://schemas.microsoft.com/office/drawing/2014/main" val="1816011080"/>
                    </a:ext>
                  </a:extLst>
                </a:gridCol>
              </a:tblGrid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303592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064660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092339"/>
                  </a:ext>
                </a:extLst>
              </a:tr>
            </a:tbl>
          </a:graphicData>
        </a:graphic>
      </p:graphicFrame>
      <p:sp>
        <p:nvSpPr>
          <p:cNvPr id="8" name="Tittel 1">
            <a:extLst>
              <a:ext uri="{FF2B5EF4-FFF2-40B4-BE49-F238E27FC236}">
                <a16:creationId xmlns:a16="http://schemas.microsoft.com/office/drawing/2014/main" id="{EE11B015-140A-4EE1-8811-57B5E1373A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47" y="152252"/>
            <a:ext cx="7844687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1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9E4930C1-168A-4517-9B86-B90FA20F3CE0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415768" y="3307143"/>
            <a:ext cx="1692509" cy="1437552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79996">
              <a:spcBef>
                <a:spcPts val="0"/>
              </a:spcBef>
              <a:buFont typeface="+mj-lt"/>
              <a:buAutoNum type="arabicPeriod"/>
              <a:defRPr sz="800" b="0"/>
            </a:lvl1pPr>
            <a:lvl2pPr marL="0" indent="0">
              <a:buNone/>
              <a:defRPr sz="900"/>
            </a:lvl2pPr>
            <a:lvl3pPr marL="180000" indent="-179996">
              <a:buFont typeface="+mj-lt"/>
              <a:buAutoNum type="alphaLcParenR"/>
              <a:defRPr sz="700"/>
            </a:lvl3pPr>
            <a:lvl4pPr marL="180000" indent="-179996">
              <a:buFont typeface="+mj-lt"/>
              <a:buAutoNum type="romanLcPeriod"/>
              <a:defRPr sz="500"/>
            </a:lvl4pPr>
            <a:lvl5pPr>
              <a:defRPr sz="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Punktliste</a:t>
            </a:r>
          </a:p>
          <a:p>
            <a:pPr lvl="2"/>
            <a:r>
              <a:rPr lang="nb-NO"/>
              <a:t>Andre nivå</a:t>
            </a:r>
          </a:p>
          <a:p>
            <a:pPr lvl="3"/>
            <a:r>
              <a:rPr lang="nb-NO"/>
              <a:t>Tredje Nivå</a:t>
            </a:r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C742E48F-4190-4404-AEDD-90284A200F72}"/>
              </a:ext>
            </a:extLst>
          </p:cNvPr>
          <p:cNvSpPr txBox="1">
            <a:spLocks/>
          </p:cNvSpPr>
          <p:nvPr userDrawn="1"/>
        </p:nvSpPr>
        <p:spPr>
          <a:xfrm>
            <a:off x="8375689" y="508002"/>
            <a:ext cx="3576631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Roller: Lønn og Lønnsnær H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BB9F8B5-E0B8-4229-A3EE-C399414AAB39}"/>
              </a:ext>
            </a:extLst>
          </p:cNvPr>
          <p:cNvCxnSpPr/>
          <p:nvPr userDrawn="1"/>
        </p:nvCxnSpPr>
        <p:spPr>
          <a:xfrm>
            <a:off x="8372305" y="3063241"/>
            <a:ext cx="3580015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Table 110">
            <a:extLst>
              <a:ext uri="{FF2B5EF4-FFF2-40B4-BE49-F238E27FC236}">
                <a16:creationId xmlns:a16="http://schemas.microsoft.com/office/drawing/2014/main" id="{632A8FB1-4961-4E60-AC48-25161350F02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802954716"/>
              </p:ext>
            </p:extLst>
          </p:nvPr>
        </p:nvGraphicFramePr>
        <p:xfrm>
          <a:off x="8674902" y="722304"/>
          <a:ext cx="1324655" cy="19202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24655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ehovshaver Kontrak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Koordinator Kontrak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Kostnadsgodkjen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ersonalgodkjen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rukeradministrator ER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rådg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21" name="Picture 20">
            <a:extLst>
              <a:ext uri="{FF2B5EF4-FFF2-40B4-BE49-F238E27FC236}">
                <a16:creationId xmlns:a16="http://schemas.microsoft.com/office/drawing/2014/main" id="{2BEC864A-F062-4C20-85A0-48CE96BBA9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82804" b="5698"/>
          <a:stretch/>
        </p:blipFill>
        <p:spPr>
          <a:xfrm>
            <a:off x="8446993" y="713639"/>
            <a:ext cx="189971" cy="19175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5FC4C74-4308-42BB-93CD-093BC7D677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r="82817" b="-1592"/>
          <a:stretch/>
        </p:blipFill>
        <p:spPr>
          <a:xfrm>
            <a:off x="8446993" y="948570"/>
            <a:ext cx="189971" cy="20045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5FD4915-90F0-40DC-9AD0-FB10430DEF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t="1" r="82467" b="-2929"/>
          <a:stretch/>
        </p:blipFill>
        <p:spPr>
          <a:xfrm>
            <a:off x="8446993" y="1164182"/>
            <a:ext cx="189971" cy="18743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E582151-BED9-40F6-ADAC-3141AC6DE0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t="1" r="81315" b="-2038"/>
          <a:stretch/>
        </p:blipFill>
        <p:spPr>
          <a:xfrm>
            <a:off x="8446993" y="1385235"/>
            <a:ext cx="189971" cy="21368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1D43FC2-5E50-493C-9739-5EAC24E82074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465225" y="1800918"/>
            <a:ext cx="148715" cy="18816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92312DA-9D03-4025-B709-0D186BEDB0C0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456823" y="2027490"/>
            <a:ext cx="151748" cy="19423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0CEF3A5-8109-48F8-8EE3-9C8D183E44A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8472813" y="1574588"/>
            <a:ext cx="133539" cy="220337"/>
          </a:xfrm>
          <a:prstGeom prst="rect">
            <a:avLst/>
          </a:prstGeom>
        </p:spPr>
      </p:pic>
      <p:graphicFrame>
        <p:nvGraphicFramePr>
          <p:cNvPr id="28" name="Table 110">
            <a:extLst>
              <a:ext uri="{FF2B5EF4-FFF2-40B4-BE49-F238E27FC236}">
                <a16:creationId xmlns:a16="http://schemas.microsoft.com/office/drawing/2014/main" id="{FC287426-C61C-4E5A-BFC9-ABA3C884F236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452542838"/>
              </p:ext>
            </p:extLst>
          </p:nvPr>
        </p:nvGraphicFramePr>
        <p:xfrm>
          <a:off x="10335245" y="732427"/>
          <a:ext cx="1705872" cy="20421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5872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Kontrollø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Attesta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Fagspesialist T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Fagspesialist Løn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Fagspesialist Re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Fagspesialist Lønnsrefusjo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Feilretter Løn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r>
                        <a:rPr lang="nb-NO" sz="800"/>
                        <a:t>Fagspesialist Utbetaling og offentlig rapporter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Fagspesialist organisasj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95961F6C-781D-4B8F-8CDA-ED7921FC72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l="-1" t="1" r="344" b="57421"/>
          <a:stretch/>
        </p:blipFill>
        <p:spPr>
          <a:xfrm>
            <a:off x="10060081" y="715567"/>
            <a:ext cx="229864" cy="20331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5D95638C-0D7D-4AF8-99D3-64FA85ACB7E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063307" y="1850733"/>
            <a:ext cx="186144" cy="23875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23428AC6-8E2F-4A50-A1E9-F3C512BFE099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0054445" y="2286746"/>
            <a:ext cx="209688" cy="21704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38E92B69-4D34-4470-8269-B5107E934D6C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054446" y="1367969"/>
            <a:ext cx="194973" cy="20968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73BEEA0-EF17-40B2-B0E2-0D8CD7C1A3EB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059155" y="1159602"/>
            <a:ext cx="202332" cy="213369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F264DA2-6C36-4D45-9606-9FCF02D5DA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l="12415" t="50848" r="1" b="-1"/>
          <a:stretch/>
        </p:blipFill>
        <p:spPr>
          <a:xfrm>
            <a:off x="10085383" y="965873"/>
            <a:ext cx="202024" cy="23470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1A7D8BFA-FFBC-470C-9B00-7FC2453509DB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0075186" y="1597872"/>
            <a:ext cx="204004" cy="214037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AA41CAA2-C63A-4757-8F9F-390B1FE10B04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0079308" y="2549063"/>
            <a:ext cx="183939" cy="20233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7F6CEF33-C146-4FCF-BD1D-4391EC9AF6E1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10086009" y="2026375"/>
            <a:ext cx="153568" cy="206984"/>
          </a:xfrm>
          <a:prstGeom prst="rect">
            <a:avLst/>
          </a:prstGeom>
        </p:spPr>
      </p:pic>
      <p:sp>
        <p:nvSpPr>
          <p:cNvPr id="38" name="Tittel 1">
            <a:extLst>
              <a:ext uri="{FF2B5EF4-FFF2-40B4-BE49-F238E27FC236}">
                <a16:creationId xmlns:a16="http://schemas.microsoft.com/office/drawing/2014/main" id="{CD7A9D41-47A4-41DF-8F7C-2655BAF8573F}"/>
              </a:ext>
            </a:extLst>
          </p:cNvPr>
          <p:cNvSpPr txBox="1">
            <a:spLocks/>
          </p:cNvSpPr>
          <p:nvPr userDrawn="1"/>
        </p:nvSpPr>
        <p:spPr>
          <a:xfrm>
            <a:off x="8375688" y="3135265"/>
            <a:ext cx="1692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Suksessfaktorer:</a:t>
            </a:r>
          </a:p>
        </p:txBody>
      </p:sp>
      <p:sp>
        <p:nvSpPr>
          <p:cNvPr id="40" name="Tittel 1">
            <a:extLst>
              <a:ext uri="{FF2B5EF4-FFF2-40B4-BE49-F238E27FC236}">
                <a16:creationId xmlns:a16="http://schemas.microsoft.com/office/drawing/2014/main" id="{3EB73F68-4ACE-4630-AE5E-FB3CDAE3475C}"/>
              </a:ext>
            </a:extLst>
          </p:cNvPr>
          <p:cNvSpPr txBox="1">
            <a:spLocks/>
          </p:cNvSpPr>
          <p:nvPr userDrawn="1"/>
        </p:nvSpPr>
        <p:spPr>
          <a:xfrm>
            <a:off x="10219731" y="3135265"/>
            <a:ext cx="1692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Mulighetsmatrise:</a:t>
            </a:r>
          </a:p>
        </p:txBody>
      </p:sp>
      <p:sp>
        <p:nvSpPr>
          <p:cNvPr id="41" name="Tittel 1">
            <a:extLst>
              <a:ext uri="{FF2B5EF4-FFF2-40B4-BE49-F238E27FC236}">
                <a16:creationId xmlns:a16="http://schemas.microsoft.com/office/drawing/2014/main" id="{8E6C6851-462C-4FDF-8868-8AD4AFC4628C}"/>
              </a:ext>
            </a:extLst>
          </p:cNvPr>
          <p:cNvSpPr txBox="1">
            <a:spLocks/>
          </p:cNvSpPr>
          <p:nvPr userDrawn="1"/>
        </p:nvSpPr>
        <p:spPr>
          <a:xfrm>
            <a:off x="8415767" y="4829553"/>
            <a:ext cx="1692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Risiko:</a:t>
            </a:r>
          </a:p>
        </p:txBody>
      </p:sp>
      <p:sp>
        <p:nvSpPr>
          <p:cNvPr id="42" name="Tittel 1">
            <a:extLst>
              <a:ext uri="{FF2B5EF4-FFF2-40B4-BE49-F238E27FC236}">
                <a16:creationId xmlns:a16="http://schemas.microsoft.com/office/drawing/2014/main" id="{B79943BA-6D0D-407A-AFE9-FDAC6A5E3F5E}"/>
              </a:ext>
            </a:extLst>
          </p:cNvPr>
          <p:cNvSpPr txBox="1">
            <a:spLocks/>
          </p:cNvSpPr>
          <p:nvPr userDrawn="1"/>
        </p:nvSpPr>
        <p:spPr>
          <a:xfrm>
            <a:off x="10259809" y="4829553"/>
            <a:ext cx="1692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Risikomatrise:</a:t>
            </a:r>
          </a:p>
        </p:txBody>
      </p:sp>
      <p:sp>
        <p:nvSpPr>
          <p:cNvPr id="46" name="Plassholder for innhold 2">
            <a:extLst>
              <a:ext uri="{FF2B5EF4-FFF2-40B4-BE49-F238E27FC236}">
                <a16:creationId xmlns:a16="http://schemas.microsoft.com/office/drawing/2014/main" id="{FED59212-D57E-47F0-AC8C-32AD1B04DB25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415768" y="4988595"/>
            <a:ext cx="1692509" cy="1437552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79996">
              <a:spcBef>
                <a:spcPts val="0"/>
              </a:spcBef>
              <a:buFont typeface="+mj-lt"/>
              <a:buAutoNum type="arabicPeriod"/>
              <a:defRPr sz="800" b="0"/>
            </a:lvl1pPr>
            <a:lvl2pPr marL="0" indent="0">
              <a:buNone/>
              <a:defRPr sz="900"/>
            </a:lvl2pPr>
            <a:lvl3pPr marL="180000" indent="-179996">
              <a:buFont typeface="+mj-lt"/>
              <a:buAutoNum type="alphaLcParenR"/>
              <a:defRPr sz="700"/>
            </a:lvl3pPr>
            <a:lvl4pPr marL="180000" indent="-179996">
              <a:buFont typeface="+mj-lt"/>
              <a:buAutoNum type="romanLcPeriod"/>
              <a:defRPr sz="500"/>
            </a:lvl4pPr>
            <a:lvl5pPr>
              <a:defRPr sz="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Punktliste</a:t>
            </a:r>
          </a:p>
          <a:p>
            <a:pPr lvl="2"/>
            <a:r>
              <a:rPr lang="nb-NO"/>
              <a:t>Andre nivå</a:t>
            </a:r>
          </a:p>
          <a:p>
            <a:pPr lvl="3"/>
            <a:r>
              <a:rPr lang="nb-NO"/>
              <a:t>Tredje Nivå</a:t>
            </a:r>
          </a:p>
        </p:txBody>
      </p:sp>
    </p:spTree>
    <p:extLst>
      <p:ext uri="{BB962C8B-B14F-4D97-AF65-F5344CB8AC3E}">
        <p14:creationId xmlns:p14="http://schemas.microsoft.com/office/powerpoint/2010/main" val="89411131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kstside" type="obj">
  <p:cSld name="Tekstside"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Google Shape;434;p68"/>
          <p:cNvSpPr txBox="1">
            <a:spLocks noGrp="1"/>
          </p:cNvSpPr>
          <p:nvPr>
            <p:ph type="title"/>
          </p:nvPr>
        </p:nvSpPr>
        <p:spPr>
          <a:xfrm>
            <a:off x="838200" y="365160"/>
            <a:ext cx="10515451" cy="1325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7200" tIns="43600" rIns="87200" bIns="43600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ts val="4200"/>
              <a:buFont typeface="Poppins"/>
              <a:buNone/>
              <a:defRPr>
                <a:solidFill>
                  <a:schemeClr val="accent6"/>
                </a:solidFill>
                <a:latin typeface="Poppins"/>
                <a:ea typeface="Poppins"/>
                <a:cs typeface="Poppins"/>
                <a:sym typeface="Poppins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5" name="Google Shape;435;p68"/>
          <p:cNvSpPr txBox="1">
            <a:spLocks noGrp="1"/>
          </p:cNvSpPr>
          <p:nvPr>
            <p:ph type="body" idx="1"/>
          </p:nvPr>
        </p:nvSpPr>
        <p:spPr>
          <a:xfrm>
            <a:off x="838200" y="1825797"/>
            <a:ext cx="10515451" cy="43515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7200" tIns="43600" rIns="87200" bIns="43600" anchor="t" anchorCtr="0">
            <a:noAutofit/>
          </a:bodyPr>
          <a:lstStyle>
            <a:lvl1pPr marL="478097" lvl="0" indent="-358572" algn="l" rtl="0">
              <a:lnSpc>
                <a:spcPct val="90000"/>
              </a:lnSpc>
              <a:spcBef>
                <a:spcPts val="104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1pPr>
            <a:lvl2pPr marL="956195" lvl="1" indent="-358572" algn="l" rtl="0">
              <a:lnSpc>
                <a:spcPct val="90000"/>
              </a:lnSpc>
              <a:spcBef>
                <a:spcPts val="52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2pPr>
            <a:lvl3pPr marL="1434292" lvl="2" indent="-358572" algn="l" rtl="0">
              <a:lnSpc>
                <a:spcPct val="90000"/>
              </a:lnSpc>
              <a:spcBef>
                <a:spcPts val="52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3pPr>
            <a:lvl4pPr marL="1912390" lvl="3" indent="-358572" algn="l" rtl="0">
              <a:lnSpc>
                <a:spcPct val="90000"/>
              </a:lnSpc>
              <a:spcBef>
                <a:spcPts val="52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4pPr>
            <a:lvl5pPr marL="2390487" lvl="4" indent="-358572" algn="l" rtl="0">
              <a:lnSpc>
                <a:spcPct val="90000"/>
              </a:lnSpc>
              <a:spcBef>
                <a:spcPts val="52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5pPr>
            <a:lvl6pPr marL="2868584" lvl="5" indent="-358572" algn="l" rtl="0">
              <a:lnSpc>
                <a:spcPct val="90000"/>
              </a:lnSpc>
              <a:spcBef>
                <a:spcPts val="52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6pPr>
            <a:lvl7pPr marL="3346682" lvl="6" indent="-358572" algn="l" rtl="0">
              <a:lnSpc>
                <a:spcPct val="90000"/>
              </a:lnSpc>
              <a:spcBef>
                <a:spcPts val="52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7pPr>
            <a:lvl8pPr marL="3824779" lvl="7" indent="-358572" algn="l" rtl="0">
              <a:lnSpc>
                <a:spcPct val="90000"/>
              </a:lnSpc>
              <a:spcBef>
                <a:spcPts val="52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8pPr>
            <a:lvl9pPr marL="4302876" lvl="8" indent="-358572" algn="l" rtl="0">
              <a:lnSpc>
                <a:spcPct val="90000"/>
              </a:lnSpc>
              <a:spcBef>
                <a:spcPts val="523"/>
              </a:spcBef>
              <a:spcAft>
                <a:spcPts val="0"/>
              </a:spcAft>
              <a:buClr>
                <a:schemeClr val="dk1"/>
              </a:buClr>
              <a:buSzPts val="1800"/>
              <a:buFont typeface="Poppins"/>
              <a:buChar char="•"/>
              <a:defRPr>
                <a:latin typeface="Poppins"/>
                <a:ea typeface="Poppins"/>
                <a:cs typeface="Poppins"/>
                <a:sym typeface="Poppins"/>
              </a:defRPr>
            </a:lvl9pPr>
          </a:lstStyle>
          <a:p>
            <a:endParaRPr/>
          </a:p>
        </p:txBody>
      </p:sp>
      <p:sp>
        <p:nvSpPr>
          <p:cNvPr id="436" name="Google Shape;436;p68"/>
          <p:cNvSpPr txBox="1">
            <a:spLocks noGrp="1"/>
          </p:cNvSpPr>
          <p:nvPr>
            <p:ph type="sldNum" idx="12"/>
          </p:nvPr>
        </p:nvSpPr>
        <p:spPr>
          <a:xfrm>
            <a:off x="838200" y="6312494"/>
            <a:ext cx="2743216" cy="3651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7200" tIns="43600" rIns="87200" bIns="436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40199384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20926168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731668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176313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69590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32072229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789415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461835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88997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1300315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86349230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663413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863804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3358657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54FDAE8-DF3E-44A6-923F-86A696327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0674140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54FDAE8-DF3E-44A6-923F-86A696327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7488BDF-9175-4966-A647-FC041BAA93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1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8C0102-FC34-45E7-8E35-623BE49293AE}"/>
              </a:ext>
            </a:extLst>
          </p:cNvPr>
          <p:cNvSpPr/>
          <p:nvPr userDrawn="1"/>
        </p:nvSpPr>
        <p:spPr>
          <a:xfrm>
            <a:off x="0" y="6303264"/>
            <a:ext cx="4742688" cy="554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0A974298-B789-4DA3-914C-F62268FC71A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023218672"/>
              </p:ext>
            </p:extLst>
          </p:nvPr>
        </p:nvGraphicFramePr>
        <p:xfrm>
          <a:off x="401847" y="1385235"/>
          <a:ext cx="7844687" cy="5036016"/>
        </p:xfrm>
        <a:graphic>
          <a:graphicData uri="http://schemas.openxmlformats.org/drawingml/2006/table">
            <a:tbl>
              <a:tblPr firstCol="1" bandRow="1">
                <a:tableStyleId>{21E4AEA4-8DFA-4A89-87EB-49C32662AFE0}</a:tableStyleId>
              </a:tblPr>
              <a:tblGrid>
                <a:gridCol w="716815">
                  <a:extLst>
                    <a:ext uri="{9D8B030D-6E8A-4147-A177-3AD203B41FA5}">
                      <a16:colId xmlns:a16="http://schemas.microsoft.com/office/drawing/2014/main" val="3468370360"/>
                    </a:ext>
                  </a:extLst>
                </a:gridCol>
                <a:gridCol w="7127872">
                  <a:extLst>
                    <a:ext uri="{9D8B030D-6E8A-4147-A177-3AD203B41FA5}">
                      <a16:colId xmlns:a16="http://schemas.microsoft.com/office/drawing/2014/main" val="1816011080"/>
                    </a:ext>
                  </a:extLst>
                </a:gridCol>
              </a:tblGrid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303592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064660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092339"/>
                  </a:ext>
                </a:extLst>
              </a:tr>
            </a:tbl>
          </a:graphicData>
        </a:graphic>
      </p:graphicFrame>
      <p:sp>
        <p:nvSpPr>
          <p:cNvPr id="8" name="Tittel 1">
            <a:extLst>
              <a:ext uri="{FF2B5EF4-FFF2-40B4-BE49-F238E27FC236}">
                <a16:creationId xmlns:a16="http://schemas.microsoft.com/office/drawing/2014/main" id="{EE11B015-140A-4EE1-8811-57B5E1373A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47" y="152252"/>
            <a:ext cx="7844687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1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innhold 2">
            <a:extLst>
              <a:ext uri="{FF2B5EF4-FFF2-40B4-BE49-F238E27FC236}">
                <a16:creationId xmlns:a16="http://schemas.microsoft.com/office/drawing/2014/main" id="{9E4930C1-168A-4517-9B86-B90FA20F3CE0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8415768" y="3307143"/>
            <a:ext cx="1692509" cy="1437552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79996">
              <a:spcBef>
                <a:spcPts val="0"/>
              </a:spcBef>
              <a:buFont typeface="+mj-lt"/>
              <a:buAutoNum type="arabicPeriod"/>
              <a:defRPr sz="800" b="0"/>
            </a:lvl1pPr>
            <a:lvl2pPr marL="0" indent="0">
              <a:buNone/>
              <a:defRPr sz="900"/>
            </a:lvl2pPr>
            <a:lvl3pPr marL="180000" indent="-179996">
              <a:buFont typeface="+mj-lt"/>
              <a:buAutoNum type="alphaLcParenR"/>
              <a:defRPr sz="700"/>
            </a:lvl3pPr>
            <a:lvl4pPr marL="180000" indent="-179996">
              <a:buFont typeface="+mj-lt"/>
              <a:buAutoNum type="romanLcPeriod"/>
              <a:defRPr sz="500"/>
            </a:lvl4pPr>
            <a:lvl5pPr>
              <a:defRPr sz="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Punktliste</a:t>
            </a:r>
          </a:p>
          <a:p>
            <a:pPr lvl="2"/>
            <a:r>
              <a:rPr lang="nb-NO"/>
              <a:t>Andre nivå</a:t>
            </a:r>
          </a:p>
          <a:p>
            <a:pPr lvl="3"/>
            <a:r>
              <a:rPr lang="nb-NO"/>
              <a:t>Tredje Nivå</a:t>
            </a:r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C742E48F-4190-4404-AEDD-90284A200F72}"/>
              </a:ext>
            </a:extLst>
          </p:cNvPr>
          <p:cNvSpPr txBox="1">
            <a:spLocks/>
          </p:cNvSpPr>
          <p:nvPr userDrawn="1"/>
        </p:nvSpPr>
        <p:spPr>
          <a:xfrm>
            <a:off x="8375689" y="508002"/>
            <a:ext cx="3576631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Roller: Lønn og Lønnsnær H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2BB9F8B5-E0B8-4229-A3EE-C399414AAB39}"/>
              </a:ext>
            </a:extLst>
          </p:cNvPr>
          <p:cNvCxnSpPr/>
          <p:nvPr userDrawn="1"/>
        </p:nvCxnSpPr>
        <p:spPr>
          <a:xfrm>
            <a:off x="8372305" y="3063241"/>
            <a:ext cx="3580015" cy="0"/>
          </a:xfrm>
          <a:prstGeom prst="line">
            <a:avLst/>
          </a:prstGeom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Table 110">
            <a:extLst>
              <a:ext uri="{FF2B5EF4-FFF2-40B4-BE49-F238E27FC236}">
                <a16:creationId xmlns:a16="http://schemas.microsoft.com/office/drawing/2014/main" id="{632A8FB1-4961-4E60-AC48-25161350F02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137190354"/>
              </p:ext>
            </p:extLst>
          </p:nvPr>
        </p:nvGraphicFramePr>
        <p:xfrm>
          <a:off x="8674902" y="722304"/>
          <a:ext cx="1324655" cy="19202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24655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ehovshaver Kontrak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Koordinator Kontrak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Kostnadsgodkjen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ersonalgodkjen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rukeradministrator ERP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rådg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21" name="Picture 20">
            <a:extLst>
              <a:ext uri="{FF2B5EF4-FFF2-40B4-BE49-F238E27FC236}">
                <a16:creationId xmlns:a16="http://schemas.microsoft.com/office/drawing/2014/main" id="{2BEC864A-F062-4C20-85A0-48CE96BBA9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r="82804" b="5698"/>
          <a:stretch/>
        </p:blipFill>
        <p:spPr>
          <a:xfrm>
            <a:off x="8446993" y="713639"/>
            <a:ext cx="189971" cy="191756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B5FC4C74-4308-42BB-93CD-093BC7D677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r="82817" b="-1592"/>
          <a:stretch/>
        </p:blipFill>
        <p:spPr>
          <a:xfrm>
            <a:off x="8446993" y="948570"/>
            <a:ext cx="189971" cy="200455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85FD4915-90F0-40DC-9AD0-FB10430DEF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t="1" r="82467" b="-2929"/>
          <a:stretch/>
        </p:blipFill>
        <p:spPr>
          <a:xfrm>
            <a:off x="8446993" y="1164182"/>
            <a:ext cx="189971" cy="18743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E582151-BED9-40F6-ADAC-3141AC6DE0C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 t="1" r="81315" b="-2038"/>
          <a:stretch/>
        </p:blipFill>
        <p:spPr>
          <a:xfrm>
            <a:off x="8446993" y="1385235"/>
            <a:ext cx="189971" cy="21368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31D43FC2-5E50-493C-9739-5EAC24E82074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465225" y="1800918"/>
            <a:ext cx="148715" cy="18816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092312DA-9D03-4025-B709-0D186BEDB0C0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456823" y="2027490"/>
            <a:ext cx="151748" cy="194239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0CEF3A5-8109-48F8-8EE3-9C8D183E44A8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8472813" y="1574588"/>
            <a:ext cx="133539" cy="220337"/>
          </a:xfrm>
          <a:prstGeom prst="rect">
            <a:avLst/>
          </a:prstGeom>
        </p:spPr>
      </p:pic>
      <p:graphicFrame>
        <p:nvGraphicFramePr>
          <p:cNvPr id="28" name="Table 110">
            <a:extLst>
              <a:ext uri="{FF2B5EF4-FFF2-40B4-BE49-F238E27FC236}">
                <a16:creationId xmlns:a16="http://schemas.microsoft.com/office/drawing/2014/main" id="{FC287426-C61C-4E5A-BFC9-ABA3C884F236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901573762"/>
              </p:ext>
            </p:extLst>
          </p:nvPr>
        </p:nvGraphicFramePr>
        <p:xfrm>
          <a:off x="10335245" y="732427"/>
          <a:ext cx="1705872" cy="20421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5872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Kontrollø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Attesta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Fagspesialist Ti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Fagspesialist Løn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Fagspesialist Reis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Fagspesialist Lønnsrefusjo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Feilretter Løn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r>
                        <a:rPr lang="nb-NO" sz="800"/>
                        <a:t>Fagspesialist Utbetaling og offentlig rapporter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Fagspesialist organisasj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29" name="Picture 28">
            <a:extLst>
              <a:ext uri="{FF2B5EF4-FFF2-40B4-BE49-F238E27FC236}">
                <a16:creationId xmlns:a16="http://schemas.microsoft.com/office/drawing/2014/main" id="{95961F6C-781D-4B8F-8CDA-ED7921FC72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l="-1" t="1" r="344" b="57421"/>
          <a:stretch/>
        </p:blipFill>
        <p:spPr>
          <a:xfrm>
            <a:off x="10060081" y="715567"/>
            <a:ext cx="229864" cy="20331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5D95638C-0D7D-4AF8-99D3-64FA85ACB7E1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063307" y="1850733"/>
            <a:ext cx="186144" cy="23875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23428AC6-8E2F-4A50-A1E9-F3C512BFE099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0054445" y="2286746"/>
            <a:ext cx="209688" cy="21704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38E92B69-4D34-4470-8269-B5107E934D6C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054446" y="1367969"/>
            <a:ext cx="194973" cy="20968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C73BEEA0-EF17-40B2-B0E2-0D8CD7C1A3EB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059155" y="1159602"/>
            <a:ext cx="202332" cy="213369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F264DA2-6C36-4D45-9606-9FCF02D5DA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/>
          <a:srcRect l="12415" t="50848" r="1" b="-1"/>
          <a:stretch/>
        </p:blipFill>
        <p:spPr>
          <a:xfrm>
            <a:off x="10085383" y="965873"/>
            <a:ext cx="202024" cy="234707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1A7D8BFA-FFBC-470C-9B00-7FC2453509DB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0075186" y="1597872"/>
            <a:ext cx="204004" cy="214037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AA41CAA2-C63A-4757-8F9F-390B1FE10B04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10079308" y="2549063"/>
            <a:ext cx="183939" cy="20233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7F6CEF33-C146-4FCF-BD1D-4391EC9AF6E1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10086009" y="2026375"/>
            <a:ext cx="153568" cy="206984"/>
          </a:xfrm>
          <a:prstGeom prst="rect">
            <a:avLst/>
          </a:prstGeom>
        </p:spPr>
      </p:pic>
      <p:sp>
        <p:nvSpPr>
          <p:cNvPr id="38" name="Tittel 1">
            <a:extLst>
              <a:ext uri="{FF2B5EF4-FFF2-40B4-BE49-F238E27FC236}">
                <a16:creationId xmlns:a16="http://schemas.microsoft.com/office/drawing/2014/main" id="{CD7A9D41-47A4-41DF-8F7C-2655BAF8573F}"/>
              </a:ext>
            </a:extLst>
          </p:cNvPr>
          <p:cNvSpPr txBox="1">
            <a:spLocks/>
          </p:cNvSpPr>
          <p:nvPr userDrawn="1"/>
        </p:nvSpPr>
        <p:spPr>
          <a:xfrm>
            <a:off x="8375688" y="3135265"/>
            <a:ext cx="1692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Suksesskriterier:</a:t>
            </a:r>
          </a:p>
        </p:txBody>
      </p:sp>
      <p:sp>
        <p:nvSpPr>
          <p:cNvPr id="40" name="Tittel 1">
            <a:extLst>
              <a:ext uri="{FF2B5EF4-FFF2-40B4-BE49-F238E27FC236}">
                <a16:creationId xmlns:a16="http://schemas.microsoft.com/office/drawing/2014/main" id="{3EB73F68-4ACE-4630-AE5E-FB3CDAE3475C}"/>
              </a:ext>
            </a:extLst>
          </p:cNvPr>
          <p:cNvSpPr txBox="1">
            <a:spLocks/>
          </p:cNvSpPr>
          <p:nvPr userDrawn="1"/>
        </p:nvSpPr>
        <p:spPr>
          <a:xfrm>
            <a:off x="10219731" y="3135265"/>
            <a:ext cx="1692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Mulighetsmatrise:</a:t>
            </a:r>
          </a:p>
        </p:txBody>
      </p:sp>
      <p:sp>
        <p:nvSpPr>
          <p:cNvPr id="41" name="Tittel 1">
            <a:extLst>
              <a:ext uri="{FF2B5EF4-FFF2-40B4-BE49-F238E27FC236}">
                <a16:creationId xmlns:a16="http://schemas.microsoft.com/office/drawing/2014/main" id="{8E6C6851-462C-4FDF-8868-8AD4AFC4628C}"/>
              </a:ext>
            </a:extLst>
          </p:cNvPr>
          <p:cNvSpPr txBox="1">
            <a:spLocks/>
          </p:cNvSpPr>
          <p:nvPr userDrawn="1"/>
        </p:nvSpPr>
        <p:spPr>
          <a:xfrm>
            <a:off x="8415767" y="4829553"/>
            <a:ext cx="1692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Risiko:</a:t>
            </a:r>
          </a:p>
        </p:txBody>
      </p:sp>
      <p:sp>
        <p:nvSpPr>
          <p:cNvPr id="42" name="Tittel 1">
            <a:extLst>
              <a:ext uri="{FF2B5EF4-FFF2-40B4-BE49-F238E27FC236}">
                <a16:creationId xmlns:a16="http://schemas.microsoft.com/office/drawing/2014/main" id="{B79943BA-6D0D-407A-AFE9-FDAC6A5E3F5E}"/>
              </a:ext>
            </a:extLst>
          </p:cNvPr>
          <p:cNvSpPr txBox="1">
            <a:spLocks/>
          </p:cNvSpPr>
          <p:nvPr userDrawn="1"/>
        </p:nvSpPr>
        <p:spPr>
          <a:xfrm>
            <a:off x="10259809" y="4829553"/>
            <a:ext cx="1692000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Risikomatrise:</a:t>
            </a:r>
          </a:p>
        </p:txBody>
      </p:sp>
      <p:sp>
        <p:nvSpPr>
          <p:cNvPr id="46" name="Plassholder for innhold 2">
            <a:extLst>
              <a:ext uri="{FF2B5EF4-FFF2-40B4-BE49-F238E27FC236}">
                <a16:creationId xmlns:a16="http://schemas.microsoft.com/office/drawing/2014/main" id="{FED59212-D57E-47F0-AC8C-32AD1B04DB25}"/>
              </a:ext>
            </a:extLst>
          </p:cNvPr>
          <p:cNvSpPr>
            <a:spLocks noGrp="1"/>
          </p:cNvSpPr>
          <p:nvPr>
            <p:ph sz="half" idx="12" hasCustomPrompt="1"/>
          </p:nvPr>
        </p:nvSpPr>
        <p:spPr>
          <a:xfrm>
            <a:off x="8415768" y="4988595"/>
            <a:ext cx="1692509" cy="1437552"/>
          </a:xfrm>
          <a:prstGeom prst="rect">
            <a:avLst/>
          </a:prstGeom>
        </p:spPr>
        <p:txBody>
          <a:bodyPr>
            <a:noAutofit/>
          </a:bodyPr>
          <a:lstStyle>
            <a:lvl1pPr marL="180000" indent="-179996">
              <a:spcBef>
                <a:spcPts val="0"/>
              </a:spcBef>
              <a:buFont typeface="+mj-lt"/>
              <a:buAutoNum type="arabicPeriod"/>
              <a:defRPr sz="800" b="0"/>
            </a:lvl1pPr>
            <a:lvl2pPr marL="0" indent="0">
              <a:buNone/>
              <a:defRPr sz="900"/>
            </a:lvl2pPr>
            <a:lvl3pPr marL="180000" indent="-179996">
              <a:buFont typeface="+mj-lt"/>
              <a:buAutoNum type="alphaLcParenR"/>
              <a:defRPr sz="700"/>
            </a:lvl3pPr>
            <a:lvl4pPr marL="180000" indent="-179996">
              <a:buFont typeface="+mj-lt"/>
              <a:buAutoNum type="romanLcPeriod"/>
              <a:defRPr sz="500"/>
            </a:lvl4pPr>
            <a:lvl5pPr>
              <a:defRPr sz="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Punktliste</a:t>
            </a:r>
          </a:p>
          <a:p>
            <a:pPr lvl="2"/>
            <a:r>
              <a:rPr lang="nb-NO"/>
              <a:t>Andre nivå</a:t>
            </a:r>
          </a:p>
          <a:p>
            <a:pPr lvl="3"/>
            <a:r>
              <a:rPr lang="nb-NO"/>
              <a:t>Tredje Nivå</a:t>
            </a:r>
          </a:p>
        </p:txBody>
      </p:sp>
    </p:spTree>
    <p:extLst>
      <p:ext uri="{BB962C8B-B14F-4D97-AF65-F5344CB8AC3E}">
        <p14:creationId xmlns:p14="http://schemas.microsoft.com/office/powerpoint/2010/main" val="31140420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E05C08-5923-41E0-B0F2-DE3C60CBE8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41875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E05C08-5923-41E0-B0F2-DE3C60CBE8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6D172-2F8C-4641-A06B-ABD78145BFF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32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47" y="397785"/>
            <a:ext cx="11224996" cy="492443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150583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3686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80961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698758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44193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6906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15860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64508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3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19" Type="http://schemas.openxmlformats.org/officeDocument/2006/relationships/oleObject" Target="../embeddings/oleObject3.bin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12530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9" imgW="592" imgH="591" progId="TCLayout.ActiveDocument.1">
                  <p:embed/>
                </p:oleObj>
              </mc:Choice>
              <mc:Fallback>
                <p:oleObj name="think-cell Slide" r:id="rId19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5088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40" r:id="rId13"/>
    <p:sldLayoutId id="2147483856" r:id="rId14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13993204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19" imgW="592" imgH="591" progId="TCLayout.ActiveDocument.1">
                  <p:embed/>
                </p:oleObj>
              </mc:Choice>
              <mc:Fallback>
                <p:oleObj name="think-cell Slide" r:id="rId19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43303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  <p:sldLayoutId id="2147483853" r:id="rId12"/>
    <p:sldLayoutId id="2147483854" r:id="rId13"/>
    <p:sldLayoutId id="2147483855" r:id="rId14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8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1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32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18" Type="http://schemas.openxmlformats.org/officeDocument/2006/relationships/image" Target="../media/image14.png"/><Relationship Id="rId3" Type="http://schemas.openxmlformats.org/officeDocument/2006/relationships/tags" Target="../tags/tag32.xml"/><Relationship Id="rId21" Type="http://schemas.openxmlformats.org/officeDocument/2006/relationships/image" Target="../media/image17.png"/><Relationship Id="rId7" Type="http://schemas.openxmlformats.org/officeDocument/2006/relationships/image" Target="../media/image1.emf"/><Relationship Id="rId12" Type="http://schemas.openxmlformats.org/officeDocument/2006/relationships/image" Target="../media/image8.png"/><Relationship Id="rId17" Type="http://schemas.openxmlformats.org/officeDocument/2006/relationships/image" Target="../media/image13.png"/><Relationship Id="rId2" Type="http://schemas.openxmlformats.org/officeDocument/2006/relationships/tags" Target="../tags/tag31.xml"/><Relationship Id="rId16" Type="http://schemas.openxmlformats.org/officeDocument/2006/relationships/image" Target="../media/image12.png"/><Relationship Id="rId20" Type="http://schemas.openxmlformats.org/officeDocument/2006/relationships/image" Target="../media/image16.png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7.png"/><Relationship Id="rId24" Type="http://schemas.openxmlformats.org/officeDocument/2006/relationships/image" Target="../media/image34.png"/><Relationship Id="rId5" Type="http://schemas.openxmlformats.org/officeDocument/2006/relationships/notesSlide" Target="../notesSlides/notesSlide12.xml"/><Relationship Id="rId15" Type="http://schemas.openxmlformats.org/officeDocument/2006/relationships/image" Target="../media/image11.png"/><Relationship Id="rId23" Type="http://schemas.openxmlformats.org/officeDocument/2006/relationships/image" Target="../media/image33.png"/><Relationship Id="rId10" Type="http://schemas.openxmlformats.org/officeDocument/2006/relationships/image" Target="../media/image6.png"/><Relationship Id="rId19" Type="http://schemas.openxmlformats.org/officeDocument/2006/relationships/image" Target="../media/image15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Relationship Id="rId22" Type="http://schemas.openxmlformats.org/officeDocument/2006/relationships/image" Target="../media/image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customXml" Target="../../customXml/item14.xml"/><Relationship Id="rId1" Type="http://schemas.openxmlformats.org/officeDocument/2006/relationships/customXml" Target="../../customXml/item15.xml"/><Relationship Id="rId4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5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tags" Target="../tags/tag15.xml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22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43.xml"/><Relationship Id="rId7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7.png"/><Relationship Id="rId18" Type="http://schemas.openxmlformats.org/officeDocument/2006/relationships/customXml" Target="../ink/ink5.xml"/><Relationship Id="rId26" Type="http://schemas.openxmlformats.org/officeDocument/2006/relationships/customXml" Target="../ink/ink9.xml"/><Relationship Id="rId39" Type="http://schemas.openxmlformats.org/officeDocument/2006/relationships/image" Target="../media/image54.svg"/><Relationship Id="rId21" Type="http://schemas.openxmlformats.org/officeDocument/2006/relationships/image" Target="../media/image42.png"/><Relationship Id="rId34" Type="http://schemas.openxmlformats.org/officeDocument/2006/relationships/customXml" Target="../ink/ink11.xml"/><Relationship Id="rId42" Type="http://schemas.openxmlformats.org/officeDocument/2006/relationships/customXml" Target="../ink/ink14.xml"/><Relationship Id="rId47" Type="http://schemas.openxmlformats.org/officeDocument/2006/relationships/image" Target="../media/image58.png"/><Relationship Id="rId50" Type="http://schemas.openxmlformats.org/officeDocument/2006/relationships/customXml" Target="../ink/ink18.xml"/><Relationship Id="rId55" Type="http://schemas.openxmlformats.org/officeDocument/2006/relationships/image" Target="../media/image62.png"/><Relationship Id="rId63" Type="http://schemas.openxmlformats.org/officeDocument/2006/relationships/image" Target="../media/image68.svg"/><Relationship Id="rId7" Type="http://schemas.openxmlformats.org/officeDocument/2006/relationships/image" Target="../media/image1.emf"/><Relationship Id="rId2" Type="http://schemas.openxmlformats.org/officeDocument/2006/relationships/tags" Target="../tags/tag44.xml"/><Relationship Id="rId16" Type="http://schemas.openxmlformats.org/officeDocument/2006/relationships/image" Target="../media/image39.png"/><Relationship Id="rId29" Type="http://schemas.openxmlformats.org/officeDocument/2006/relationships/image" Target="../media/image46.png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18.bin"/><Relationship Id="rId11" Type="http://schemas.openxmlformats.org/officeDocument/2006/relationships/image" Target="../media/image36.png"/><Relationship Id="rId24" Type="http://schemas.openxmlformats.org/officeDocument/2006/relationships/customXml" Target="../ink/ink8.xml"/><Relationship Id="rId32" Type="http://schemas.openxmlformats.org/officeDocument/2006/relationships/image" Target="../media/image49.png"/><Relationship Id="rId37" Type="http://schemas.openxmlformats.org/officeDocument/2006/relationships/image" Target="../media/image52.png"/><Relationship Id="rId40" Type="http://schemas.openxmlformats.org/officeDocument/2006/relationships/customXml" Target="../ink/ink13.xml"/><Relationship Id="rId45" Type="http://schemas.openxmlformats.org/officeDocument/2006/relationships/image" Target="../media/image57.png"/><Relationship Id="rId53" Type="http://schemas.openxmlformats.org/officeDocument/2006/relationships/image" Target="../media/image61.png"/><Relationship Id="rId58" Type="http://schemas.openxmlformats.org/officeDocument/2006/relationships/customXml" Target="../ink/ink21.xml"/><Relationship Id="rId66" Type="http://schemas.openxmlformats.org/officeDocument/2006/relationships/customXml" Target="../ink/ink23.xml"/><Relationship Id="rId5" Type="http://schemas.openxmlformats.org/officeDocument/2006/relationships/notesSlide" Target="../notesSlides/notesSlide18.xml"/><Relationship Id="rId15" Type="http://schemas.openxmlformats.org/officeDocument/2006/relationships/image" Target="../media/image38.png"/><Relationship Id="rId23" Type="http://schemas.openxmlformats.org/officeDocument/2006/relationships/image" Target="../media/image43.png"/><Relationship Id="rId28" Type="http://schemas.openxmlformats.org/officeDocument/2006/relationships/customXml" Target="../ink/ink10.xml"/><Relationship Id="rId36" Type="http://schemas.openxmlformats.org/officeDocument/2006/relationships/customXml" Target="../ink/ink12.xml"/><Relationship Id="rId49" Type="http://schemas.openxmlformats.org/officeDocument/2006/relationships/image" Target="../media/image59.png"/><Relationship Id="rId57" Type="http://schemas.openxmlformats.org/officeDocument/2006/relationships/image" Target="../media/image64.svg"/><Relationship Id="rId61" Type="http://schemas.openxmlformats.org/officeDocument/2006/relationships/image" Target="../media/image66.png"/><Relationship Id="rId10" Type="http://schemas.openxmlformats.org/officeDocument/2006/relationships/customXml" Target="../ink/ink2.xml"/><Relationship Id="rId19" Type="http://schemas.openxmlformats.org/officeDocument/2006/relationships/image" Target="../media/image41.png"/><Relationship Id="rId31" Type="http://schemas.openxmlformats.org/officeDocument/2006/relationships/image" Target="../media/image48.svg"/><Relationship Id="rId44" Type="http://schemas.openxmlformats.org/officeDocument/2006/relationships/customXml" Target="../ink/ink15.xml"/><Relationship Id="rId52" Type="http://schemas.openxmlformats.org/officeDocument/2006/relationships/customXml" Target="../ink/ink19.xml"/><Relationship Id="rId60" Type="http://schemas.openxmlformats.org/officeDocument/2006/relationships/customXml" Target="../ink/ink22.xml"/><Relationship Id="rId65" Type="http://schemas.openxmlformats.org/officeDocument/2006/relationships/image" Target="../media/image70.sv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5.png"/><Relationship Id="rId14" Type="http://schemas.openxmlformats.org/officeDocument/2006/relationships/customXml" Target="../ink/ink4.xml"/><Relationship Id="rId22" Type="http://schemas.openxmlformats.org/officeDocument/2006/relationships/customXml" Target="../ink/ink7.xml"/><Relationship Id="rId27" Type="http://schemas.openxmlformats.org/officeDocument/2006/relationships/image" Target="../media/image45.png"/><Relationship Id="rId30" Type="http://schemas.openxmlformats.org/officeDocument/2006/relationships/image" Target="../media/image47.png"/><Relationship Id="rId35" Type="http://schemas.openxmlformats.org/officeDocument/2006/relationships/image" Target="../media/image51.png"/><Relationship Id="rId43" Type="http://schemas.openxmlformats.org/officeDocument/2006/relationships/image" Target="../media/image56.png"/><Relationship Id="rId48" Type="http://schemas.openxmlformats.org/officeDocument/2006/relationships/customXml" Target="../ink/ink17.xml"/><Relationship Id="rId56" Type="http://schemas.openxmlformats.org/officeDocument/2006/relationships/image" Target="../media/image63.png"/><Relationship Id="rId64" Type="http://schemas.openxmlformats.org/officeDocument/2006/relationships/image" Target="../media/image69.png"/><Relationship Id="rId8" Type="http://schemas.openxmlformats.org/officeDocument/2006/relationships/customXml" Target="../ink/ink1.xml"/><Relationship Id="rId51" Type="http://schemas.openxmlformats.org/officeDocument/2006/relationships/image" Target="../media/image60.png"/><Relationship Id="rId3" Type="http://schemas.openxmlformats.org/officeDocument/2006/relationships/tags" Target="../tags/tag45.xml"/><Relationship Id="rId12" Type="http://schemas.openxmlformats.org/officeDocument/2006/relationships/customXml" Target="../ink/ink3.xml"/><Relationship Id="rId17" Type="http://schemas.openxmlformats.org/officeDocument/2006/relationships/image" Target="../media/image40.svg"/><Relationship Id="rId25" Type="http://schemas.openxmlformats.org/officeDocument/2006/relationships/image" Target="../media/image44.png"/><Relationship Id="rId33" Type="http://schemas.openxmlformats.org/officeDocument/2006/relationships/image" Target="../media/image50.svg"/><Relationship Id="rId38" Type="http://schemas.openxmlformats.org/officeDocument/2006/relationships/image" Target="../media/image53.png"/><Relationship Id="rId46" Type="http://schemas.openxmlformats.org/officeDocument/2006/relationships/customXml" Target="../ink/ink16.xml"/><Relationship Id="rId59" Type="http://schemas.openxmlformats.org/officeDocument/2006/relationships/image" Target="../media/image65.png"/><Relationship Id="rId67" Type="http://schemas.openxmlformats.org/officeDocument/2006/relationships/image" Target="../media/image71.png"/><Relationship Id="rId20" Type="http://schemas.openxmlformats.org/officeDocument/2006/relationships/customXml" Target="../ink/ink6.xml"/><Relationship Id="rId41" Type="http://schemas.openxmlformats.org/officeDocument/2006/relationships/image" Target="../media/image55.png"/><Relationship Id="rId54" Type="http://schemas.openxmlformats.org/officeDocument/2006/relationships/customXml" Target="../ink/ink20.xml"/><Relationship Id="rId62" Type="http://schemas.openxmlformats.org/officeDocument/2006/relationships/image" Target="../media/image67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71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51.xml"/><Relationship Id="rId7" Type="http://schemas.openxmlformats.org/officeDocument/2006/relationships/image" Target="../media/image1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medium.com/productmanagement101/design-sprints-at-google-85ff62fed5f8" TargetMode="Externa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8050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5400" b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86608" y="2984914"/>
            <a:ext cx="10818784" cy="1107996"/>
          </a:xfrm>
        </p:spPr>
        <p:txBody>
          <a:bodyPr/>
          <a:lstStyle/>
          <a:p>
            <a:pPr algn="ctr"/>
            <a:r>
              <a:rPr lang="nb-NO" sz="6600">
                <a:solidFill>
                  <a:schemeClr val="bg1"/>
                </a:solidFill>
              </a:rPr>
              <a:t>Lønn og lønnsnær HR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686608" y="4092910"/>
            <a:ext cx="10818785" cy="797463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ctr"/>
            <a:r>
              <a:rPr lang="nb-NO" sz="2400" b="1">
                <a:solidFill>
                  <a:schemeClr val="bg1"/>
                </a:solidFill>
              </a:rPr>
              <a:t>Presentasjon av løsningsforslag etter design sprint </a:t>
            </a:r>
            <a:br>
              <a:rPr lang="nb-NO" sz="2400" b="1">
                <a:solidFill>
                  <a:schemeClr val="bg1"/>
                </a:solidFill>
              </a:rPr>
            </a:br>
            <a:endParaRPr lang="nb-NO" sz="2400" b="1">
              <a:solidFill>
                <a:schemeClr val="bg1"/>
              </a:solidFill>
            </a:endParaRPr>
          </a:p>
          <a:p>
            <a:pPr algn="ctr"/>
            <a:r>
              <a:rPr lang="nb-NO" sz="2400" b="1">
                <a:solidFill>
                  <a:schemeClr val="bg1"/>
                </a:solidFill>
              </a:rPr>
              <a:t>BOTT ØL Innføring</a:t>
            </a:r>
            <a:endParaRPr lang="nb-NO" sz="2400">
              <a:solidFill>
                <a:schemeClr val="bg1"/>
              </a:solidFill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91761" y="1547553"/>
            <a:ext cx="7208479" cy="5777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4487120" y="5683171"/>
            <a:ext cx="3217761" cy="430887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algn="ctr" defTabSz="609585">
              <a:defRPr/>
            </a:pPr>
            <a:r>
              <a:rPr lang="nb-NO" sz="2000">
                <a:solidFill>
                  <a:srgbClr val="FFFFFF">
                    <a:lumMod val="85000"/>
                  </a:srgbClr>
                </a:solidFill>
                <a:latin typeface="Arial" panose="020B0604020202020204"/>
              </a:rPr>
              <a:t>Allmøte - 18.03.2021</a:t>
            </a:r>
            <a:endParaRPr lang="nb-NO" sz="20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E8E38E6-5480-47D5-8B66-647920375B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E8E38E6-5480-47D5-8B66-647920375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8" name="Google Shape;888;p81"/>
          <p:cNvSpPr/>
          <p:nvPr/>
        </p:nvSpPr>
        <p:spPr>
          <a:xfrm>
            <a:off x="1293498" y="1645910"/>
            <a:ext cx="10757751" cy="4240628"/>
          </a:xfrm>
          <a:prstGeom prst="rect">
            <a:avLst/>
          </a:prstGeom>
          <a:solidFill>
            <a:srgbClr val="D8E8DD"/>
          </a:solidFill>
          <a:ln>
            <a:noFill/>
          </a:ln>
        </p:spPr>
        <p:txBody>
          <a:bodyPr spcFirstLastPara="1" wrap="square" lIns="121595" tIns="121595" rIns="121595" bIns="121595" anchor="ctr" anchorCtr="0">
            <a:noAutofit/>
          </a:bodyPr>
          <a:lstStyle/>
          <a:p>
            <a:pPr defTabSz="956195">
              <a:buClr>
                <a:srgbClr val="000000"/>
              </a:buClr>
              <a:buSzPts val="1800"/>
            </a:pPr>
            <a:endParaRPr sz="1883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5FD0B12-92BA-4521-8502-32E042E20EE7}"/>
              </a:ext>
            </a:extLst>
          </p:cNvPr>
          <p:cNvGrpSpPr/>
          <p:nvPr/>
        </p:nvGrpSpPr>
        <p:grpSpPr>
          <a:xfrm>
            <a:off x="2069701" y="3369015"/>
            <a:ext cx="974745" cy="967216"/>
            <a:chOff x="2069701" y="3380394"/>
            <a:chExt cx="974745" cy="967216"/>
          </a:xfrm>
        </p:grpSpPr>
        <p:sp>
          <p:nvSpPr>
            <p:cNvPr id="891" name="Google Shape;891;p81"/>
            <p:cNvSpPr/>
            <p:nvPr/>
          </p:nvSpPr>
          <p:spPr>
            <a:xfrm>
              <a:off x="2069701" y="3380394"/>
              <a:ext cx="974745" cy="967216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92" name="Google Shape;892;p81"/>
            <p:cNvPicPr preferRelativeResize="0"/>
            <p:nvPr/>
          </p:nvPicPr>
          <p:blipFill rotWithShape="1">
            <a:blip r:embed="rId7">
              <a:alphaModFix/>
            </a:blip>
            <a:srcRect l="10101" r="9344"/>
            <a:stretch/>
          </p:blipFill>
          <p:spPr>
            <a:xfrm>
              <a:off x="2221580" y="3542405"/>
              <a:ext cx="708551" cy="63778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A40CB849-28B9-4DE5-B7D3-A6A61E92737A}"/>
              </a:ext>
            </a:extLst>
          </p:cNvPr>
          <p:cNvGrpSpPr/>
          <p:nvPr/>
        </p:nvGrpSpPr>
        <p:grpSpPr>
          <a:xfrm>
            <a:off x="4039825" y="3366013"/>
            <a:ext cx="998247" cy="973220"/>
            <a:chOff x="4039825" y="3429000"/>
            <a:chExt cx="998247" cy="973220"/>
          </a:xfrm>
        </p:grpSpPr>
        <p:sp>
          <p:nvSpPr>
            <p:cNvPr id="890" name="Google Shape;890;p81"/>
            <p:cNvSpPr/>
            <p:nvPr/>
          </p:nvSpPr>
          <p:spPr>
            <a:xfrm>
              <a:off x="4039825" y="3429000"/>
              <a:ext cx="998247" cy="973220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893" name="Google Shape;893;p81"/>
            <p:cNvPicPr preferRelativeResize="0"/>
            <p:nvPr/>
          </p:nvPicPr>
          <p:blipFill rotWithShape="1">
            <a:blip r:embed="rId8">
              <a:alphaModFix/>
            </a:blip>
            <a:srcRect l="21735" r="21808"/>
            <a:stretch/>
          </p:blipFill>
          <p:spPr>
            <a:xfrm>
              <a:off x="4261324" y="3510209"/>
              <a:ext cx="544404" cy="75034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94" name="Google Shape;894;p81"/>
          <p:cNvSpPr txBox="1"/>
          <p:nvPr/>
        </p:nvSpPr>
        <p:spPr>
          <a:xfrm>
            <a:off x="3368216" y="2940068"/>
            <a:ext cx="2375529" cy="422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121595" rIns="121595" bIns="121595" anchor="t" anchorCtr="0">
            <a:noAutofit/>
          </a:bodyPr>
          <a:lstStyle/>
          <a:p>
            <a:pPr algn="ctr" defTabSz="956195">
              <a:buClr>
                <a:srgbClr val="000000"/>
              </a:buClr>
              <a:buSzPts val="1400"/>
            </a:pPr>
            <a:r>
              <a:rPr lang="en" sz="1464" b="1" kern="0">
                <a:solidFill>
                  <a:srgbClr val="32756D"/>
                </a:solidFill>
                <a:latin typeface="Poppins"/>
                <a:ea typeface="Poppins"/>
                <a:cs typeface="Poppins"/>
                <a:sym typeface="Poppins"/>
              </a:rPr>
              <a:t>Koordinator kontrakt</a:t>
            </a:r>
            <a:endParaRPr sz="1464" b="1" kern="0">
              <a:solidFill>
                <a:srgbClr val="32756D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895" name="Google Shape;895;p81"/>
          <p:cNvSpPr txBox="1"/>
          <p:nvPr/>
        </p:nvSpPr>
        <p:spPr>
          <a:xfrm>
            <a:off x="1215292" y="2940068"/>
            <a:ext cx="2607687" cy="422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121595" rIns="121595" bIns="121595" anchor="t" anchorCtr="0">
            <a:noAutofit/>
          </a:bodyPr>
          <a:lstStyle/>
          <a:p>
            <a:pPr algn="ctr" defTabSz="956195">
              <a:buClr>
                <a:srgbClr val="000000"/>
              </a:buClr>
              <a:buSzPts val="1400"/>
            </a:pPr>
            <a:r>
              <a:rPr lang="en" sz="1464" b="1" kern="0">
                <a:solidFill>
                  <a:srgbClr val="32756D"/>
                </a:solidFill>
                <a:latin typeface="Poppins"/>
                <a:ea typeface="Poppins"/>
                <a:cs typeface="Poppins"/>
                <a:sym typeface="Poppins"/>
              </a:rPr>
              <a:t>Behovshaver kontrakt</a:t>
            </a:r>
            <a:endParaRPr sz="1464" b="1" kern="0">
              <a:solidFill>
                <a:srgbClr val="32756D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896" name="Google Shape;896;p81"/>
          <p:cNvSpPr txBox="1"/>
          <p:nvPr/>
        </p:nvSpPr>
        <p:spPr>
          <a:xfrm>
            <a:off x="5366801" y="2940068"/>
            <a:ext cx="2375529" cy="422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121595" rIns="121595" bIns="121595" anchor="t" anchorCtr="0">
            <a:noAutofit/>
          </a:bodyPr>
          <a:lstStyle/>
          <a:p>
            <a:pPr algn="ctr" defTabSz="956195">
              <a:buClr>
                <a:srgbClr val="000000"/>
              </a:buClr>
              <a:buSzPts val="1400"/>
            </a:pPr>
            <a:r>
              <a:rPr lang="en" sz="1464" b="1" kern="0">
                <a:solidFill>
                  <a:srgbClr val="32756D"/>
                </a:solidFill>
                <a:latin typeface="Poppins"/>
                <a:ea typeface="Poppins"/>
                <a:cs typeface="Poppins"/>
                <a:sym typeface="Poppins"/>
              </a:rPr>
              <a:t>Kostnadsgodkjenner</a:t>
            </a:r>
            <a:endParaRPr sz="1464" b="1" kern="0">
              <a:solidFill>
                <a:srgbClr val="32756D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cxnSp>
        <p:nvCxnSpPr>
          <p:cNvPr id="897" name="Google Shape;897;p81"/>
          <p:cNvCxnSpPr>
            <a:cxnSpLocks/>
            <a:endCxn id="891" idx="2"/>
          </p:cNvCxnSpPr>
          <p:nvPr/>
        </p:nvCxnSpPr>
        <p:spPr>
          <a:xfrm flipV="1">
            <a:off x="1133650" y="3852623"/>
            <a:ext cx="936051" cy="4056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898" name="Google Shape;898;p81"/>
          <p:cNvSpPr/>
          <p:nvPr/>
        </p:nvSpPr>
        <p:spPr>
          <a:xfrm>
            <a:off x="10011933" y="3525779"/>
            <a:ext cx="2045491" cy="689568"/>
          </a:xfrm>
          <a:prstGeom prst="roundRect">
            <a:avLst>
              <a:gd name="adj" fmla="val 16667"/>
            </a:avLst>
          </a:prstGeom>
          <a:solidFill>
            <a:srgbClr val="EEF2F5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595" tIns="121595" rIns="121595" bIns="121595" anchor="ctr" anchorCtr="0">
            <a:noAutofit/>
          </a:bodyPr>
          <a:lstStyle/>
          <a:p>
            <a:pPr algn="ctr" defTabSz="956195">
              <a:buClr>
                <a:srgbClr val="000000"/>
              </a:buClr>
              <a:buSzPts val="1300"/>
            </a:pPr>
            <a:r>
              <a:rPr lang="en" sz="1360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Kontrakt leses inn i lønnssystemet</a:t>
            </a:r>
            <a:endParaRPr sz="1360" kern="0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cxnSp>
        <p:nvCxnSpPr>
          <p:cNvPr id="899" name="Google Shape;899;p81"/>
          <p:cNvCxnSpPr>
            <a:cxnSpLocks/>
            <a:stCxn id="890" idx="6"/>
            <a:endCxn id="889" idx="2"/>
          </p:cNvCxnSpPr>
          <p:nvPr/>
        </p:nvCxnSpPr>
        <p:spPr>
          <a:xfrm>
            <a:off x="5038072" y="3852623"/>
            <a:ext cx="1029129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900" name="Google Shape;900;p81"/>
          <p:cNvSpPr txBox="1">
            <a:spLocks noGrp="1"/>
          </p:cNvSpPr>
          <p:nvPr>
            <p:ph type="title"/>
          </p:nvPr>
        </p:nvSpPr>
        <p:spPr>
          <a:xfrm>
            <a:off x="233892" y="463634"/>
            <a:ext cx="10515451" cy="70588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189" tIns="45595" rIns="91189" bIns="45595" rtlCol="0" anchor="ctr" anchorCtr="0">
            <a:noAutofit/>
          </a:bodyPr>
          <a:lstStyle/>
          <a:p>
            <a:r>
              <a:rPr lang="nb-NO" sz="2824">
                <a:solidFill>
                  <a:schemeClr val="tx1"/>
                </a:solidFill>
              </a:rPr>
              <a:t>Flyt for timelønnede og oppdragstakere</a:t>
            </a:r>
            <a:endParaRPr sz="2824">
              <a:solidFill>
                <a:schemeClr val="tx1"/>
              </a:solidFill>
            </a:endParaRPr>
          </a:p>
        </p:txBody>
      </p:sp>
      <p:sp>
        <p:nvSpPr>
          <p:cNvPr id="902" name="Google Shape;902;p81"/>
          <p:cNvSpPr txBox="1"/>
          <p:nvPr/>
        </p:nvSpPr>
        <p:spPr>
          <a:xfrm>
            <a:off x="8124001" y="4402221"/>
            <a:ext cx="1477961" cy="422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121595" rIns="121595" bIns="121595" anchor="t" anchorCtr="0">
            <a:noAutofit/>
          </a:bodyPr>
          <a:lstStyle/>
          <a:p>
            <a:pPr algn="ctr" defTabSz="956195">
              <a:buClr>
                <a:srgbClr val="000000"/>
              </a:buClr>
              <a:buSzPts val="1400"/>
            </a:pPr>
            <a:r>
              <a:rPr lang="en" sz="1464" b="1" kern="0">
                <a:solidFill>
                  <a:srgbClr val="32756D"/>
                </a:solidFill>
                <a:latin typeface="Poppins"/>
                <a:ea typeface="Poppins"/>
                <a:cs typeface="Poppins"/>
                <a:sym typeface="Poppins"/>
              </a:rPr>
              <a:t>Ansatt</a:t>
            </a:r>
            <a:endParaRPr sz="1464" b="1" kern="0">
              <a:solidFill>
                <a:srgbClr val="32756D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cxnSp>
        <p:nvCxnSpPr>
          <p:cNvPr id="903" name="Google Shape;903;p81"/>
          <p:cNvCxnSpPr/>
          <p:nvPr/>
        </p:nvCxnSpPr>
        <p:spPr>
          <a:xfrm rot="10800000" flipH="1">
            <a:off x="7054000" y="3868181"/>
            <a:ext cx="1309491" cy="4705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904" name="Google Shape;904;p81"/>
          <p:cNvCxnSpPr/>
          <p:nvPr/>
        </p:nvCxnSpPr>
        <p:spPr>
          <a:xfrm rot="10800000" flipH="1">
            <a:off x="8953634" y="2540460"/>
            <a:ext cx="392471" cy="851137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905" name="Google Shape;905;p81"/>
          <p:cNvCxnSpPr>
            <a:endCxn id="898" idx="0"/>
          </p:cNvCxnSpPr>
          <p:nvPr/>
        </p:nvCxnSpPr>
        <p:spPr>
          <a:xfrm>
            <a:off x="10018209" y="2475112"/>
            <a:ext cx="1016471" cy="1050667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cxnSp>
        <p:nvCxnSpPr>
          <p:cNvPr id="906" name="Google Shape;906;p81"/>
          <p:cNvCxnSpPr/>
          <p:nvPr/>
        </p:nvCxnSpPr>
        <p:spPr>
          <a:xfrm rot="10800000">
            <a:off x="9883484" y="2552826"/>
            <a:ext cx="919216" cy="978509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907" name="Google Shape;907;p81"/>
          <p:cNvSpPr/>
          <p:nvPr/>
        </p:nvSpPr>
        <p:spPr>
          <a:xfrm>
            <a:off x="8953634" y="1793504"/>
            <a:ext cx="1311567" cy="747056"/>
          </a:xfrm>
          <a:prstGeom prst="flowChartPreparation">
            <a:avLst/>
          </a:prstGeom>
          <a:solidFill>
            <a:srgbClr val="EEF2F5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595" tIns="121595" rIns="121595" bIns="121595" anchor="ctr" anchorCtr="0">
            <a:noAutofit/>
          </a:bodyPr>
          <a:lstStyle/>
          <a:p>
            <a:pPr algn="ctr" defTabSz="956195">
              <a:buClr>
                <a:srgbClr val="000000"/>
              </a:buClr>
              <a:buSzPts val="1300"/>
            </a:pPr>
            <a:endParaRPr sz="1360" kern="0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908" name="Google Shape;908;p81"/>
          <p:cNvSpPr txBox="1"/>
          <p:nvPr/>
        </p:nvSpPr>
        <p:spPr>
          <a:xfrm>
            <a:off x="1437460" y="4435632"/>
            <a:ext cx="2126117" cy="355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121595" rIns="121595" bIns="121595" anchor="ctr" anchorCtr="0">
            <a:noAutofit/>
          </a:bodyPr>
          <a:lstStyle/>
          <a:p>
            <a:pPr algn="ctr" defTabSz="956195">
              <a:buClr>
                <a:srgbClr val="000000"/>
              </a:buClr>
              <a:buSzPts val="1100"/>
            </a:pPr>
            <a:r>
              <a:rPr lang="en" sz="115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Legger inn bestilling av kontrakt</a:t>
            </a:r>
            <a:endParaRPr sz="1151" kern="0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909" name="Google Shape;909;p81"/>
          <p:cNvSpPr txBox="1"/>
          <p:nvPr/>
        </p:nvSpPr>
        <p:spPr>
          <a:xfrm>
            <a:off x="3402508" y="4435632"/>
            <a:ext cx="2126117" cy="355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121595" rIns="121595" bIns="121595" anchor="ctr" anchorCtr="0">
            <a:noAutofit/>
          </a:bodyPr>
          <a:lstStyle/>
          <a:p>
            <a:pPr algn="ctr" defTabSz="956195">
              <a:buClr>
                <a:srgbClr val="000000"/>
              </a:buClr>
              <a:buSzPts val="1100"/>
            </a:pPr>
            <a:r>
              <a:rPr lang="en" sz="115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Oppretter kontrakt og registrerer kontraktsopplysninger</a:t>
            </a:r>
            <a:endParaRPr sz="1151" kern="0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910" name="Google Shape;910;p81"/>
          <p:cNvSpPr txBox="1"/>
          <p:nvPr/>
        </p:nvSpPr>
        <p:spPr>
          <a:xfrm>
            <a:off x="5528625" y="4435632"/>
            <a:ext cx="2126117" cy="355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121595" rIns="121595" bIns="121595" anchor="ctr" anchorCtr="0">
            <a:noAutofit/>
          </a:bodyPr>
          <a:lstStyle/>
          <a:p>
            <a:pPr algn="ctr" defTabSz="956195">
              <a:buClr>
                <a:srgbClr val="000000"/>
              </a:buClr>
              <a:buSzPts val="1100"/>
            </a:pPr>
            <a:r>
              <a:rPr lang="en" sz="115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Kontrollerer kontrakt</a:t>
            </a:r>
            <a:endParaRPr sz="1151" kern="0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911" name="Google Shape;911;p81"/>
          <p:cNvSpPr txBox="1"/>
          <p:nvPr/>
        </p:nvSpPr>
        <p:spPr>
          <a:xfrm>
            <a:off x="7799984" y="4954703"/>
            <a:ext cx="2126117" cy="355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121595" rIns="121595" bIns="121595" anchor="ctr" anchorCtr="0">
            <a:noAutofit/>
          </a:bodyPr>
          <a:lstStyle/>
          <a:p>
            <a:pPr algn="ctr" defTabSz="956195">
              <a:buClr>
                <a:srgbClr val="000000"/>
              </a:buClr>
              <a:buSzPts val="1100"/>
            </a:pPr>
            <a:r>
              <a:rPr lang="en" sz="115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Mottar kontrakt til signering</a:t>
            </a:r>
            <a:endParaRPr sz="1151" kern="0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3A371F5-27FD-49E4-BC4F-EC063DAD7A9D}"/>
              </a:ext>
            </a:extLst>
          </p:cNvPr>
          <p:cNvGrpSpPr/>
          <p:nvPr/>
        </p:nvGrpSpPr>
        <p:grpSpPr>
          <a:xfrm>
            <a:off x="8375601" y="3369015"/>
            <a:ext cx="974745" cy="967216"/>
            <a:chOff x="8375601" y="3369015"/>
            <a:chExt cx="974745" cy="967216"/>
          </a:xfrm>
        </p:grpSpPr>
        <p:sp>
          <p:nvSpPr>
            <p:cNvPr id="901" name="Google Shape;901;p81"/>
            <p:cNvSpPr/>
            <p:nvPr/>
          </p:nvSpPr>
          <p:spPr>
            <a:xfrm>
              <a:off x="8375601" y="3369015"/>
              <a:ext cx="974745" cy="967216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7" name="Google Shape;967;p81"/>
            <p:cNvSpPr/>
            <p:nvPr/>
          </p:nvSpPr>
          <p:spPr>
            <a:xfrm>
              <a:off x="8578431" y="3523379"/>
              <a:ext cx="569123" cy="747071"/>
            </a:xfrm>
            <a:custGeom>
              <a:avLst/>
              <a:gdLst/>
              <a:ahLst/>
              <a:cxnLst/>
              <a:rect l="l" t="t" r="r" b="b"/>
              <a:pathLst>
                <a:path w="570" h="745" extrusionOk="0">
                  <a:moveTo>
                    <a:pt x="383" y="1"/>
                  </a:moveTo>
                  <a:cubicBezTo>
                    <a:pt x="357" y="1"/>
                    <a:pt x="293" y="1"/>
                    <a:pt x="238" y="40"/>
                  </a:cubicBezTo>
                  <a:cubicBezTo>
                    <a:pt x="80" y="43"/>
                    <a:pt x="56" y="119"/>
                    <a:pt x="56" y="191"/>
                  </a:cubicBezTo>
                  <a:cubicBezTo>
                    <a:pt x="56" y="212"/>
                    <a:pt x="61" y="251"/>
                    <a:pt x="64" y="272"/>
                  </a:cubicBezTo>
                  <a:cubicBezTo>
                    <a:pt x="53" y="278"/>
                    <a:pt x="43" y="283"/>
                    <a:pt x="38" y="291"/>
                  </a:cubicBezTo>
                  <a:cubicBezTo>
                    <a:pt x="27" y="299"/>
                    <a:pt x="22" y="317"/>
                    <a:pt x="24" y="333"/>
                  </a:cubicBezTo>
                  <a:lnTo>
                    <a:pt x="35" y="409"/>
                  </a:lnTo>
                  <a:cubicBezTo>
                    <a:pt x="38" y="433"/>
                    <a:pt x="56" y="452"/>
                    <a:pt x="80" y="454"/>
                  </a:cubicBezTo>
                  <a:cubicBezTo>
                    <a:pt x="88" y="507"/>
                    <a:pt x="114" y="560"/>
                    <a:pt x="148" y="599"/>
                  </a:cubicBezTo>
                  <a:lnTo>
                    <a:pt x="135" y="660"/>
                  </a:lnTo>
                  <a:lnTo>
                    <a:pt x="14" y="712"/>
                  </a:lnTo>
                  <a:cubicBezTo>
                    <a:pt x="3" y="718"/>
                    <a:pt x="1" y="726"/>
                    <a:pt x="3" y="733"/>
                  </a:cubicBezTo>
                  <a:cubicBezTo>
                    <a:pt x="9" y="742"/>
                    <a:pt x="14" y="745"/>
                    <a:pt x="20" y="745"/>
                  </a:cubicBezTo>
                  <a:cubicBezTo>
                    <a:pt x="22" y="745"/>
                    <a:pt x="25" y="745"/>
                    <a:pt x="27" y="744"/>
                  </a:cubicBezTo>
                  <a:lnTo>
                    <a:pt x="159" y="689"/>
                  </a:lnTo>
                  <a:cubicBezTo>
                    <a:pt x="167" y="689"/>
                    <a:pt x="169" y="686"/>
                    <a:pt x="169" y="678"/>
                  </a:cubicBezTo>
                  <a:lnTo>
                    <a:pt x="188" y="602"/>
                  </a:lnTo>
                  <a:cubicBezTo>
                    <a:pt x="193" y="596"/>
                    <a:pt x="188" y="589"/>
                    <a:pt x="185" y="586"/>
                  </a:cubicBezTo>
                  <a:cubicBezTo>
                    <a:pt x="146" y="549"/>
                    <a:pt x="119" y="494"/>
                    <a:pt x="117" y="441"/>
                  </a:cubicBezTo>
                  <a:cubicBezTo>
                    <a:pt x="117" y="430"/>
                    <a:pt x="109" y="425"/>
                    <a:pt x="101" y="425"/>
                  </a:cubicBezTo>
                  <a:lnTo>
                    <a:pt x="93" y="425"/>
                  </a:lnTo>
                  <a:cubicBezTo>
                    <a:pt x="82" y="425"/>
                    <a:pt x="75" y="415"/>
                    <a:pt x="75" y="404"/>
                  </a:cubicBezTo>
                  <a:lnTo>
                    <a:pt x="64" y="330"/>
                  </a:lnTo>
                  <a:cubicBezTo>
                    <a:pt x="64" y="322"/>
                    <a:pt x="67" y="317"/>
                    <a:pt x="69" y="312"/>
                  </a:cubicBezTo>
                  <a:cubicBezTo>
                    <a:pt x="75" y="309"/>
                    <a:pt x="80" y="307"/>
                    <a:pt x="88" y="307"/>
                  </a:cubicBezTo>
                  <a:lnTo>
                    <a:pt x="90" y="307"/>
                  </a:lnTo>
                  <a:cubicBezTo>
                    <a:pt x="96" y="307"/>
                    <a:pt x="101" y="304"/>
                    <a:pt x="104" y="301"/>
                  </a:cubicBezTo>
                  <a:cubicBezTo>
                    <a:pt x="106" y="296"/>
                    <a:pt x="106" y="291"/>
                    <a:pt x="106" y="285"/>
                  </a:cubicBezTo>
                  <a:cubicBezTo>
                    <a:pt x="106" y="283"/>
                    <a:pt x="96" y="214"/>
                    <a:pt x="96" y="191"/>
                  </a:cubicBezTo>
                  <a:cubicBezTo>
                    <a:pt x="96" y="127"/>
                    <a:pt x="109" y="72"/>
                    <a:pt x="251" y="72"/>
                  </a:cubicBezTo>
                  <a:cubicBezTo>
                    <a:pt x="254" y="72"/>
                    <a:pt x="259" y="72"/>
                    <a:pt x="262" y="69"/>
                  </a:cubicBezTo>
                  <a:cubicBezTo>
                    <a:pt x="304" y="38"/>
                    <a:pt x="351" y="32"/>
                    <a:pt x="391" y="32"/>
                  </a:cubicBezTo>
                  <a:cubicBezTo>
                    <a:pt x="446" y="32"/>
                    <a:pt x="483" y="51"/>
                    <a:pt x="504" y="83"/>
                  </a:cubicBezTo>
                  <a:cubicBezTo>
                    <a:pt x="530" y="122"/>
                    <a:pt x="523" y="146"/>
                    <a:pt x="509" y="159"/>
                  </a:cubicBezTo>
                  <a:lnTo>
                    <a:pt x="488" y="177"/>
                  </a:lnTo>
                  <a:cubicBezTo>
                    <a:pt x="488" y="183"/>
                    <a:pt x="486" y="185"/>
                    <a:pt x="486" y="188"/>
                  </a:cubicBezTo>
                  <a:lnTo>
                    <a:pt x="483" y="283"/>
                  </a:lnTo>
                  <a:cubicBezTo>
                    <a:pt x="483" y="291"/>
                    <a:pt x="483" y="293"/>
                    <a:pt x="486" y="296"/>
                  </a:cubicBezTo>
                  <a:cubicBezTo>
                    <a:pt x="488" y="301"/>
                    <a:pt x="496" y="304"/>
                    <a:pt x="499" y="304"/>
                  </a:cubicBezTo>
                  <a:cubicBezTo>
                    <a:pt x="504" y="304"/>
                    <a:pt x="512" y="307"/>
                    <a:pt x="515" y="309"/>
                  </a:cubicBezTo>
                  <a:cubicBezTo>
                    <a:pt x="523" y="314"/>
                    <a:pt x="523" y="320"/>
                    <a:pt x="523" y="328"/>
                  </a:cubicBezTo>
                  <a:lnTo>
                    <a:pt x="512" y="401"/>
                  </a:lnTo>
                  <a:cubicBezTo>
                    <a:pt x="512" y="412"/>
                    <a:pt x="501" y="423"/>
                    <a:pt x="488" y="423"/>
                  </a:cubicBezTo>
                  <a:cubicBezTo>
                    <a:pt x="478" y="423"/>
                    <a:pt x="472" y="428"/>
                    <a:pt x="472" y="438"/>
                  </a:cubicBezTo>
                  <a:cubicBezTo>
                    <a:pt x="470" y="494"/>
                    <a:pt x="438" y="552"/>
                    <a:pt x="399" y="586"/>
                  </a:cubicBezTo>
                  <a:cubicBezTo>
                    <a:pt x="396" y="591"/>
                    <a:pt x="396" y="596"/>
                    <a:pt x="396" y="604"/>
                  </a:cubicBezTo>
                  <a:lnTo>
                    <a:pt x="412" y="676"/>
                  </a:lnTo>
                  <a:cubicBezTo>
                    <a:pt x="412" y="678"/>
                    <a:pt x="420" y="683"/>
                    <a:pt x="422" y="686"/>
                  </a:cubicBezTo>
                  <a:lnTo>
                    <a:pt x="554" y="741"/>
                  </a:lnTo>
                  <a:lnTo>
                    <a:pt x="562" y="741"/>
                  </a:lnTo>
                  <a:cubicBezTo>
                    <a:pt x="567" y="741"/>
                    <a:pt x="570" y="739"/>
                    <a:pt x="562" y="733"/>
                  </a:cubicBezTo>
                  <a:cubicBezTo>
                    <a:pt x="565" y="726"/>
                    <a:pt x="562" y="715"/>
                    <a:pt x="552" y="712"/>
                  </a:cubicBezTo>
                  <a:lnTo>
                    <a:pt x="430" y="660"/>
                  </a:lnTo>
                  <a:lnTo>
                    <a:pt x="417" y="604"/>
                  </a:lnTo>
                  <a:cubicBezTo>
                    <a:pt x="457" y="565"/>
                    <a:pt x="483" y="512"/>
                    <a:pt x="488" y="454"/>
                  </a:cubicBezTo>
                  <a:cubicBezTo>
                    <a:pt x="507" y="449"/>
                    <a:pt x="525" y="433"/>
                    <a:pt x="528" y="409"/>
                  </a:cubicBezTo>
                  <a:lnTo>
                    <a:pt x="538" y="333"/>
                  </a:lnTo>
                  <a:cubicBezTo>
                    <a:pt x="541" y="317"/>
                    <a:pt x="536" y="304"/>
                    <a:pt x="525" y="291"/>
                  </a:cubicBezTo>
                  <a:cubicBezTo>
                    <a:pt x="517" y="283"/>
                    <a:pt x="512" y="278"/>
                    <a:pt x="501" y="272"/>
                  </a:cubicBezTo>
                  <a:lnTo>
                    <a:pt x="504" y="199"/>
                  </a:lnTo>
                  <a:lnTo>
                    <a:pt x="523" y="180"/>
                  </a:lnTo>
                  <a:cubicBezTo>
                    <a:pt x="544" y="162"/>
                    <a:pt x="562" y="122"/>
                    <a:pt x="525" y="67"/>
                  </a:cubicBezTo>
                  <a:cubicBezTo>
                    <a:pt x="499" y="22"/>
                    <a:pt x="449" y="1"/>
                    <a:pt x="383" y="1"/>
                  </a:cubicBezTo>
                  <a:close/>
                </a:path>
              </a:pathLst>
            </a:custGeom>
            <a:solidFill>
              <a:srgbClr val="24554F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68" name="Google Shape;968;p81"/>
          <p:cNvSpPr txBox="1"/>
          <p:nvPr/>
        </p:nvSpPr>
        <p:spPr>
          <a:xfrm>
            <a:off x="8945643" y="1893990"/>
            <a:ext cx="1380079" cy="5700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60784" rIns="121595" bIns="60784" anchor="t" anchorCtr="0">
            <a:noAutofit/>
          </a:bodyPr>
          <a:lstStyle/>
          <a:p>
            <a:pPr algn="ctr" defTabSz="956195">
              <a:buClr>
                <a:srgbClr val="000000"/>
              </a:buClr>
            </a:pPr>
            <a:r>
              <a:rPr lang="en" sz="1464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Signer kontrakt</a:t>
            </a:r>
            <a:endParaRPr sz="1464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6045FD0-3564-4582-BB55-B17559C831E6}"/>
              </a:ext>
            </a:extLst>
          </p:cNvPr>
          <p:cNvGrpSpPr/>
          <p:nvPr/>
        </p:nvGrpSpPr>
        <p:grpSpPr>
          <a:xfrm>
            <a:off x="6067201" y="3369015"/>
            <a:ext cx="974745" cy="967216"/>
            <a:chOff x="6067201" y="3386828"/>
            <a:chExt cx="974745" cy="967216"/>
          </a:xfrm>
        </p:grpSpPr>
        <p:sp>
          <p:nvSpPr>
            <p:cNvPr id="889" name="Google Shape;889;p81"/>
            <p:cNvSpPr/>
            <p:nvPr/>
          </p:nvSpPr>
          <p:spPr>
            <a:xfrm>
              <a:off x="6067201" y="3386828"/>
              <a:ext cx="974745" cy="967216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69" name="Google Shape;969;p81"/>
            <p:cNvPicPr preferRelativeResize="0"/>
            <p:nvPr/>
          </p:nvPicPr>
          <p:blipFill rotWithShape="1">
            <a:blip r:embed="rId9">
              <a:alphaModFix/>
            </a:blip>
            <a:srcRect l="19871" t="7918" r="21353"/>
            <a:stretch/>
          </p:blipFill>
          <p:spPr>
            <a:xfrm>
              <a:off x="6267239" y="3491404"/>
              <a:ext cx="583968" cy="69427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78CD993-65B5-44BB-800A-1E814214BD05}"/>
              </a:ext>
            </a:extLst>
          </p:cNvPr>
          <p:cNvGrpSpPr/>
          <p:nvPr/>
        </p:nvGrpSpPr>
        <p:grpSpPr>
          <a:xfrm>
            <a:off x="8707428" y="5435904"/>
            <a:ext cx="508315" cy="311181"/>
            <a:chOff x="6369726" y="6274718"/>
            <a:chExt cx="508315" cy="311181"/>
          </a:xfrm>
        </p:grpSpPr>
        <p:grpSp>
          <p:nvGrpSpPr>
            <p:cNvPr id="95" name="Google Shape;937;p81">
              <a:extLst>
                <a:ext uri="{FF2B5EF4-FFF2-40B4-BE49-F238E27FC236}">
                  <a16:creationId xmlns:a16="http://schemas.microsoft.com/office/drawing/2014/main" id="{9428E9FA-AF4D-48F7-A3EF-0DD50C7A748B}"/>
                </a:ext>
              </a:extLst>
            </p:cNvPr>
            <p:cNvGrpSpPr/>
            <p:nvPr/>
          </p:nvGrpSpPr>
          <p:grpSpPr>
            <a:xfrm>
              <a:off x="6369726" y="6274718"/>
              <a:ext cx="150167" cy="311181"/>
              <a:chOff x="2578025" y="2206950"/>
              <a:chExt cx="289400" cy="568525"/>
            </a:xfrm>
          </p:grpSpPr>
          <p:sp>
            <p:nvSpPr>
              <p:cNvPr id="96" name="Google Shape;938;p81">
                <a:extLst>
                  <a:ext uri="{FF2B5EF4-FFF2-40B4-BE49-F238E27FC236}">
                    <a16:creationId xmlns:a16="http://schemas.microsoft.com/office/drawing/2014/main" id="{0CBDC8B4-6CEC-48C5-8050-006774EC3110}"/>
                  </a:ext>
                </a:extLst>
              </p:cNvPr>
              <p:cNvSpPr/>
              <p:nvPr/>
            </p:nvSpPr>
            <p:spPr>
              <a:xfrm>
                <a:off x="2578025" y="2206950"/>
                <a:ext cx="289400" cy="568525"/>
              </a:xfrm>
              <a:custGeom>
                <a:avLst/>
                <a:gdLst/>
                <a:ahLst/>
                <a:cxnLst/>
                <a:rect l="l" t="t" r="r" b="b"/>
                <a:pathLst>
                  <a:path w="11576" h="22741" extrusionOk="0">
                    <a:moveTo>
                      <a:pt x="1001" y="0"/>
                    </a:moveTo>
                    <a:cubicBezTo>
                      <a:pt x="433" y="0"/>
                      <a:pt x="1" y="432"/>
                      <a:pt x="1" y="978"/>
                    </a:cubicBezTo>
                    <a:lnTo>
                      <a:pt x="1" y="21762"/>
                    </a:lnTo>
                    <a:cubicBezTo>
                      <a:pt x="1" y="22308"/>
                      <a:pt x="433" y="22740"/>
                      <a:pt x="1001" y="22740"/>
                    </a:cubicBezTo>
                    <a:lnTo>
                      <a:pt x="10598" y="22740"/>
                    </a:lnTo>
                    <a:cubicBezTo>
                      <a:pt x="11143" y="22740"/>
                      <a:pt x="11576" y="22308"/>
                      <a:pt x="11576" y="21762"/>
                    </a:cubicBezTo>
                    <a:lnTo>
                      <a:pt x="11576" y="978"/>
                    </a:lnTo>
                    <a:cubicBezTo>
                      <a:pt x="11576" y="432"/>
                      <a:pt x="11143" y="0"/>
                      <a:pt x="10598" y="0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" name="Google Shape;939;p81">
                <a:extLst>
                  <a:ext uri="{FF2B5EF4-FFF2-40B4-BE49-F238E27FC236}">
                    <a16:creationId xmlns:a16="http://schemas.microsoft.com/office/drawing/2014/main" id="{64271368-29CB-4C65-B0E6-BC00C0C0BD3E}"/>
                  </a:ext>
                </a:extLst>
              </p:cNvPr>
              <p:cNvSpPr/>
              <p:nvPr/>
            </p:nvSpPr>
            <p:spPr>
              <a:xfrm>
                <a:off x="2590550" y="2292800"/>
                <a:ext cx="264375" cy="396825"/>
              </a:xfrm>
              <a:custGeom>
                <a:avLst/>
                <a:gdLst/>
                <a:ahLst/>
                <a:cxnLst/>
                <a:rect l="l" t="t" r="r" b="b"/>
                <a:pathLst>
                  <a:path w="10575" h="15873" extrusionOk="0">
                    <a:moveTo>
                      <a:pt x="0" y="0"/>
                    </a:moveTo>
                    <a:lnTo>
                      <a:pt x="0" y="15873"/>
                    </a:lnTo>
                    <a:lnTo>
                      <a:pt x="10574" y="15873"/>
                    </a:lnTo>
                    <a:lnTo>
                      <a:pt x="1057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8" name="Google Shape;940;p81">
                <a:extLst>
                  <a:ext uri="{FF2B5EF4-FFF2-40B4-BE49-F238E27FC236}">
                    <a16:creationId xmlns:a16="http://schemas.microsoft.com/office/drawing/2014/main" id="{0CBBDB20-C3C6-4E6D-8486-02FC808FB00E}"/>
                  </a:ext>
                </a:extLst>
              </p:cNvPr>
              <p:cNvSpPr/>
              <p:nvPr/>
            </p:nvSpPr>
            <p:spPr>
              <a:xfrm>
                <a:off x="2696275" y="2703800"/>
                <a:ext cx="52900" cy="52900"/>
              </a:xfrm>
              <a:custGeom>
                <a:avLst/>
                <a:gdLst/>
                <a:ahLst/>
                <a:cxnLst/>
                <a:rect l="l" t="t" r="r" b="b"/>
                <a:pathLst>
                  <a:path w="2116" h="2116" extrusionOk="0">
                    <a:moveTo>
                      <a:pt x="1047" y="1"/>
                    </a:moveTo>
                    <a:cubicBezTo>
                      <a:pt x="478" y="1"/>
                      <a:pt x="1" y="456"/>
                      <a:pt x="1" y="1047"/>
                    </a:cubicBezTo>
                    <a:cubicBezTo>
                      <a:pt x="1" y="1638"/>
                      <a:pt x="478" y="2116"/>
                      <a:pt x="1047" y="2116"/>
                    </a:cubicBezTo>
                    <a:cubicBezTo>
                      <a:pt x="1638" y="2116"/>
                      <a:pt x="2116" y="1638"/>
                      <a:pt x="2116" y="1047"/>
                    </a:cubicBezTo>
                    <a:cubicBezTo>
                      <a:pt x="2116" y="456"/>
                      <a:pt x="1638" y="1"/>
                      <a:pt x="1047" y="1"/>
                    </a:cubicBezTo>
                    <a:close/>
                  </a:path>
                </a:pathLst>
              </a:custGeom>
              <a:solidFill>
                <a:srgbClr val="7D7E7D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9" name="Google Shape;941;p81">
                <a:extLst>
                  <a:ext uri="{FF2B5EF4-FFF2-40B4-BE49-F238E27FC236}">
                    <a16:creationId xmlns:a16="http://schemas.microsoft.com/office/drawing/2014/main" id="{814D5CBB-D3B7-4495-84FA-68BA1C80E5E2}"/>
                  </a:ext>
                </a:extLst>
              </p:cNvPr>
              <p:cNvSpPr/>
              <p:nvPr/>
            </p:nvSpPr>
            <p:spPr>
              <a:xfrm>
                <a:off x="2696850" y="2242750"/>
                <a:ext cx="52325" cy="14250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570" extrusionOk="0">
                    <a:moveTo>
                      <a:pt x="410" y="1"/>
                    </a:moveTo>
                    <a:cubicBezTo>
                      <a:pt x="182" y="1"/>
                      <a:pt x="1" y="115"/>
                      <a:pt x="1" y="274"/>
                    </a:cubicBezTo>
                    <a:cubicBezTo>
                      <a:pt x="1" y="433"/>
                      <a:pt x="182" y="569"/>
                      <a:pt x="410" y="569"/>
                    </a:cubicBezTo>
                    <a:lnTo>
                      <a:pt x="1683" y="569"/>
                    </a:lnTo>
                    <a:cubicBezTo>
                      <a:pt x="1911" y="569"/>
                      <a:pt x="2093" y="433"/>
                      <a:pt x="2093" y="274"/>
                    </a:cubicBezTo>
                    <a:cubicBezTo>
                      <a:pt x="2093" y="115"/>
                      <a:pt x="1911" y="1"/>
                      <a:pt x="1706" y="1"/>
                    </a:cubicBezTo>
                    <a:close/>
                  </a:path>
                </a:pathLst>
              </a:custGeom>
              <a:solidFill>
                <a:srgbClr val="7D7E7D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00" name="Google Shape;942;p81">
              <a:extLst>
                <a:ext uri="{FF2B5EF4-FFF2-40B4-BE49-F238E27FC236}">
                  <a16:creationId xmlns:a16="http://schemas.microsoft.com/office/drawing/2014/main" id="{D1B8517C-1C59-48FE-8A56-0F6D300E2056}"/>
                </a:ext>
              </a:extLst>
            </p:cNvPr>
            <p:cNvGrpSpPr/>
            <p:nvPr/>
          </p:nvGrpSpPr>
          <p:grpSpPr>
            <a:xfrm>
              <a:off x="6560038" y="6274718"/>
              <a:ext cx="318003" cy="228094"/>
              <a:chOff x="3303450" y="2292225"/>
              <a:chExt cx="612850" cy="416725"/>
            </a:xfrm>
          </p:grpSpPr>
          <p:sp>
            <p:nvSpPr>
              <p:cNvPr id="101" name="Google Shape;943;p81">
                <a:extLst>
                  <a:ext uri="{FF2B5EF4-FFF2-40B4-BE49-F238E27FC236}">
                    <a16:creationId xmlns:a16="http://schemas.microsoft.com/office/drawing/2014/main" id="{A45872E2-9170-483B-B4CF-6E7A94069DD8}"/>
                  </a:ext>
                </a:extLst>
              </p:cNvPr>
              <p:cNvSpPr/>
              <p:nvPr/>
            </p:nvSpPr>
            <p:spPr>
              <a:xfrm>
                <a:off x="3303450" y="2601050"/>
                <a:ext cx="117125" cy="98250"/>
              </a:xfrm>
              <a:custGeom>
                <a:avLst/>
                <a:gdLst/>
                <a:ahLst/>
                <a:cxnLst/>
                <a:rect l="l" t="t" r="r" b="b"/>
                <a:pathLst>
                  <a:path w="4685" h="3930" extrusionOk="0">
                    <a:moveTo>
                      <a:pt x="2351" y="1"/>
                    </a:moveTo>
                    <a:cubicBezTo>
                      <a:pt x="2172" y="1"/>
                      <a:pt x="1990" y="120"/>
                      <a:pt x="1842" y="359"/>
                    </a:cubicBezTo>
                    <a:lnTo>
                      <a:pt x="273" y="3065"/>
                    </a:lnTo>
                    <a:cubicBezTo>
                      <a:pt x="0" y="3543"/>
                      <a:pt x="227" y="3929"/>
                      <a:pt x="773" y="3929"/>
                    </a:cubicBezTo>
                    <a:lnTo>
                      <a:pt x="3911" y="3929"/>
                    </a:lnTo>
                    <a:cubicBezTo>
                      <a:pt x="4457" y="3929"/>
                      <a:pt x="4684" y="3543"/>
                      <a:pt x="4412" y="3065"/>
                    </a:cubicBezTo>
                    <a:lnTo>
                      <a:pt x="2843" y="359"/>
                    </a:lnTo>
                    <a:cubicBezTo>
                      <a:pt x="2706" y="120"/>
                      <a:pt x="2530" y="1"/>
                      <a:pt x="2351" y="1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" name="Google Shape;944;p81">
                <a:extLst>
                  <a:ext uri="{FF2B5EF4-FFF2-40B4-BE49-F238E27FC236}">
                    <a16:creationId xmlns:a16="http://schemas.microsoft.com/office/drawing/2014/main" id="{44AE86E2-D6F0-4888-A7D7-42562793FFF2}"/>
                  </a:ext>
                </a:extLst>
              </p:cNvPr>
              <p:cNvSpPr/>
              <p:nvPr/>
            </p:nvSpPr>
            <p:spPr>
              <a:xfrm>
                <a:off x="3799175" y="2601050"/>
                <a:ext cx="117125" cy="98250"/>
              </a:xfrm>
              <a:custGeom>
                <a:avLst/>
                <a:gdLst/>
                <a:ahLst/>
                <a:cxnLst/>
                <a:rect l="l" t="t" r="r" b="b"/>
                <a:pathLst>
                  <a:path w="4685" h="3930" extrusionOk="0">
                    <a:moveTo>
                      <a:pt x="2351" y="1"/>
                    </a:moveTo>
                    <a:cubicBezTo>
                      <a:pt x="2172" y="1"/>
                      <a:pt x="1990" y="120"/>
                      <a:pt x="1842" y="359"/>
                    </a:cubicBezTo>
                    <a:lnTo>
                      <a:pt x="273" y="3065"/>
                    </a:lnTo>
                    <a:cubicBezTo>
                      <a:pt x="0" y="3543"/>
                      <a:pt x="228" y="3929"/>
                      <a:pt x="773" y="3929"/>
                    </a:cubicBezTo>
                    <a:lnTo>
                      <a:pt x="3912" y="3929"/>
                    </a:lnTo>
                    <a:cubicBezTo>
                      <a:pt x="4457" y="3929"/>
                      <a:pt x="4685" y="3543"/>
                      <a:pt x="4412" y="3065"/>
                    </a:cubicBezTo>
                    <a:lnTo>
                      <a:pt x="2843" y="359"/>
                    </a:lnTo>
                    <a:cubicBezTo>
                      <a:pt x="2706" y="120"/>
                      <a:pt x="2530" y="1"/>
                      <a:pt x="2351" y="1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3" name="Google Shape;945;p81">
                <a:extLst>
                  <a:ext uri="{FF2B5EF4-FFF2-40B4-BE49-F238E27FC236}">
                    <a16:creationId xmlns:a16="http://schemas.microsoft.com/office/drawing/2014/main" id="{20F9EB27-12AC-483C-8E0C-1F8D4EDF1BBE}"/>
                  </a:ext>
                </a:extLst>
              </p:cNvPr>
              <p:cNvSpPr/>
              <p:nvPr/>
            </p:nvSpPr>
            <p:spPr>
              <a:xfrm>
                <a:off x="3345500" y="2292225"/>
                <a:ext cx="528175" cy="343950"/>
              </a:xfrm>
              <a:custGeom>
                <a:avLst/>
                <a:gdLst/>
                <a:ahLst/>
                <a:cxnLst/>
                <a:rect l="l" t="t" r="r" b="b"/>
                <a:pathLst>
                  <a:path w="21127" h="13758" extrusionOk="0">
                    <a:moveTo>
                      <a:pt x="1001" y="0"/>
                    </a:moveTo>
                    <a:cubicBezTo>
                      <a:pt x="456" y="0"/>
                      <a:pt x="1" y="455"/>
                      <a:pt x="1" y="1001"/>
                    </a:cubicBezTo>
                    <a:lnTo>
                      <a:pt x="1" y="12780"/>
                    </a:lnTo>
                    <a:cubicBezTo>
                      <a:pt x="1" y="13326"/>
                      <a:pt x="456" y="13758"/>
                      <a:pt x="1001" y="13758"/>
                    </a:cubicBezTo>
                    <a:lnTo>
                      <a:pt x="20126" y="13758"/>
                    </a:lnTo>
                    <a:cubicBezTo>
                      <a:pt x="20671" y="13758"/>
                      <a:pt x="21126" y="13326"/>
                      <a:pt x="21126" y="12780"/>
                    </a:cubicBezTo>
                    <a:lnTo>
                      <a:pt x="21126" y="1001"/>
                    </a:lnTo>
                    <a:cubicBezTo>
                      <a:pt x="21126" y="455"/>
                      <a:pt x="20671" y="0"/>
                      <a:pt x="20126" y="0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4" name="Google Shape;946;p81">
                <a:extLst>
                  <a:ext uri="{FF2B5EF4-FFF2-40B4-BE49-F238E27FC236}">
                    <a16:creationId xmlns:a16="http://schemas.microsoft.com/office/drawing/2014/main" id="{31F2E7AC-214F-4871-9532-990EDA70AE99}"/>
                  </a:ext>
                </a:extLst>
              </p:cNvPr>
              <p:cNvSpPr/>
              <p:nvPr/>
            </p:nvSpPr>
            <p:spPr>
              <a:xfrm>
                <a:off x="3345500" y="2615125"/>
                <a:ext cx="528175" cy="84175"/>
              </a:xfrm>
              <a:custGeom>
                <a:avLst/>
                <a:gdLst/>
                <a:ahLst/>
                <a:cxnLst/>
                <a:rect l="l" t="t" r="r" b="b"/>
                <a:pathLst>
                  <a:path w="21127" h="3367" extrusionOk="0">
                    <a:moveTo>
                      <a:pt x="1001" y="1"/>
                    </a:moveTo>
                    <a:cubicBezTo>
                      <a:pt x="456" y="1"/>
                      <a:pt x="1" y="433"/>
                      <a:pt x="1" y="978"/>
                    </a:cubicBezTo>
                    <a:lnTo>
                      <a:pt x="1" y="2388"/>
                    </a:lnTo>
                    <a:cubicBezTo>
                      <a:pt x="1" y="2934"/>
                      <a:pt x="456" y="3366"/>
                      <a:pt x="1001" y="3366"/>
                    </a:cubicBezTo>
                    <a:lnTo>
                      <a:pt x="20126" y="3366"/>
                    </a:lnTo>
                    <a:cubicBezTo>
                      <a:pt x="20671" y="3366"/>
                      <a:pt x="21126" y="2934"/>
                      <a:pt x="21126" y="2388"/>
                    </a:cubicBezTo>
                    <a:lnTo>
                      <a:pt x="21126" y="978"/>
                    </a:lnTo>
                    <a:cubicBezTo>
                      <a:pt x="21126" y="433"/>
                      <a:pt x="20671" y="1"/>
                      <a:pt x="20126" y="1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5" name="Google Shape;947;p81">
                <a:extLst>
                  <a:ext uri="{FF2B5EF4-FFF2-40B4-BE49-F238E27FC236}">
                    <a16:creationId xmlns:a16="http://schemas.microsoft.com/office/drawing/2014/main" id="{5B49197F-39F9-40CB-BCD7-5926CC823274}"/>
                  </a:ext>
                </a:extLst>
              </p:cNvPr>
              <p:cNvSpPr/>
              <p:nvPr/>
            </p:nvSpPr>
            <p:spPr>
              <a:xfrm>
                <a:off x="3306850" y="2676475"/>
                <a:ext cx="605475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24219" h="1299" extrusionOk="0">
                    <a:moveTo>
                      <a:pt x="443" y="1"/>
                    </a:moveTo>
                    <a:cubicBezTo>
                      <a:pt x="207" y="1"/>
                      <a:pt x="2" y="219"/>
                      <a:pt x="23" y="457"/>
                    </a:cubicBezTo>
                    <a:lnTo>
                      <a:pt x="23" y="821"/>
                    </a:lnTo>
                    <a:cubicBezTo>
                      <a:pt x="0" y="1071"/>
                      <a:pt x="228" y="1299"/>
                      <a:pt x="478" y="1299"/>
                    </a:cubicBezTo>
                    <a:lnTo>
                      <a:pt x="23764" y="1299"/>
                    </a:lnTo>
                    <a:cubicBezTo>
                      <a:pt x="24014" y="1299"/>
                      <a:pt x="24219" y="1071"/>
                      <a:pt x="24219" y="821"/>
                    </a:cubicBezTo>
                    <a:lnTo>
                      <a:pt x="24219" y="457"/>
                    </a:lnTo>
                    <a:cubicBezTo>
                      <a:pt x="24219" y="207"/>
                      <a:pt x="24014" y="2"/>
                      <a:pt x="23764" y="2"/>
                    </a:cubicBezTo>
                    <a:lnTo>
                      <a:pt x="478" y="2"/>
                    </a:lnTo>
                    <a:cubicBezTo>
                      <a:pt x="466" y="1"/>
                      <a:pt x="455" y="1"/>
                      <a:pt x="443" y="1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6" name="Google Shape;948;p81">
                <a:extLst>
                  <a:ext uri="{FF2B5EF4-FFF2-40B4-BE49-F238E27FC236}">
                    <a16:creationId xmlns:a16="http://schemas.microsoft.com/office/drawing/2014/main" id="{EADCEE4E-5787-40C9-A225-B1F780117DD5}"/>
                  </a:ext>
                </a:extLst>
              </p:cNvPr>
              <p:cNvSpPr/>
              <p:nvPr/>
            </p:nvSpPr>
            <p:spPr>
              <a:xfrm>
                <a:off x="3369375" y="2317225"/>
                <a:ext cx="480975" cy="279175"/>
              </a:xfrm>
              <a:custGeom>
                <a:avLst/>
                <a:gdLst/>
                <a:ahLst/>
                <a:cxnLst/>
                <a:rect l="l" t="t" r="r" b="b"/>
                <a:pathLst>
                  <a:path w="19239" h="11167" extrusionOk="0">
                    <a:moveTo>
                      <a:pt x="1" y="1"/>
                    </a:moveTo>
                    <a:lnTo>
                      <a:pt x="1" y="11166"/>
                    </a:lnTo>
                    <a:lnTo>
                      <a:pt x="19239" y="11166"/>
                    </a:lnTo>
                    <a:lnTo>
                      <a:pt x="1923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7" name="Google Shape;949;p81">
                <a:extLst>
                  <a:ext uri="{FF2B5EF4-FFF2-40B4-BE49-F238E27FC236}">
                    <a16:creationId xmlns:a16="http://schemas.microsoft.com/office/drawing/2014/main" id="{34C93718-9852-41A9-B429-8A3EC062EDD7}"/>
                  </a:ext>
                </a:extLst>
              </p:cNvPr>
              <p:cNvSpPr/>
              <p:nvPr/>
            </p:nvSpPr>
            <p:spPr>
              <a:xfrm>
                <a:off x="3606450" y="2301875"/>
                <a:ext cx="6275" cy="6850"/>
              </a:xfrm>
              <a:custGeom>
                <a:avLst/>
                <a:gdLst/>
                <a:ahLst/>
                <a:cxnLst/>
                <a:rect l="l" t="t" r="r" b="b"/>
                <a:pathLst>
                  <a:path w="251" h="274" extrusionOk="0">
                    <a:moveTo>
                      <a:pt x="137" y="1"/>
                    </a:moveTo>
                    <a:cubicBezTo>
                      <a:pt x="46" y="1"/>
                      <a:pt x="0" y="69"/>
                      <a:pt x="0" y="137"/>
                    </a:cubicBezTo>
                    <a:cubicBezTo>
                      <a:pt x="0" y="206"/>
                      <a:pt x="46" y="274"/>
                      <a:pt x="137" y="274"/>
                    </a:cubicBezTo>
                    <a:cubicBezTo>
                      <a:pt x="205" y="274"/>
                      <a:pt x="251" y="206"/>
                      <a:pt x="251" y="137"/>
                    </a:cubicBezTo>
                    <a:cubicBezTo>
                      <a:pt x="251" y="69"/>
                      <a:pt x="205" y="1"/>
                      <a:pt x="137" y="1"/>
                    </a:cubicBezTo>
                    <a:close/>
                  </a:path>
                </a:pathLst>
              </a:custGeom>
              <a:solidFill>
                <a:srgbClr val="7D7E7D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8" name="Google Shape;950;p81">
                <a:extLst>
                  <a:ext uri="{FF2B5EF4-FFF2-40B4-BE49-F238E27FC236}">
                    <a16:creationId xmlns:a16="http://schemas.microsoft.com/office/drawing/2014/main" id="{8D022730-ADFB-49D7-BEE2-2E559966AABF}"/>
                  </a:ext>
                </a:extLst>
              </p:cNvPr>
              <p:cNvSpPr/>
              <p:nvPr/>
            </p:nvSpPr>
            <p:spPr>
              <a:xfrm>
                <a:off x="3346650" y="2621375"/>
                <a:ext cx="527025" cy="51775"/>
              </a:xfrm>
              <a:custGeom>
                <a:avLst/>
                <a:gdLst/>
                <a:ahLst/>
                <a:cxnLst/>
                <a:rect l="l" t="t" r="r" b="b"/>
                <a:pathLst>
                  <a:path w="21081" h="2071" extrusionOk="0">
                    <a:moveTo>
                      <a:pt x="1160" y="1"/>
                    </a:moveTo>
                    <a:lnTo>
                      <a:pt x="0" y="2070"/>
                    </a:lnTo>
                    <a:lnTo>
                      <a:pt x="21080" y="2070"/>
                    </a:lnTo>
                    <a:lnTo>
                      <a:pt x="19920" y="1"/>
                    </a:lnTo>
                    <a:close/>
                  </a:path>
                </a:pathLst>
              </a:custGeom>
              <a:solidFill>
                <a:srgbClr val="7D7E7D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9" name="Google Shape;951;p81">
                <a:extLst>
                  <a:ext uri="{FF2B5EF4-FFF2-40B4-BE49-F238E27FC236}">
                    <a16:creationId xmlns:a16="http://schemas.microsoft.com/office/drawing/2014/main" id="{8A2D7015-40DA-4EC7-8029-71A052E21D18}"/>
                  </a:ext>
                </a:extLst>
              </p:cNvPr>
              <p:cNvSpPr/>
              <p:nvPr/>
            </p:nvSpPr>
            <p:spPr>
              <a:xfrm>
                <a:off x="3325050" y="2683350"/>
                <a:ext cx="57307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22923" h="1" fill="none" extrusionOk="0">
                    <a:moveTo>
                      <a:pt x="0" y="0"/>
                    </a:moveTo>
                    <a:lnTo>
                      <a:pt x="22922" y="0"/>
                    </a:lnTo>
                  </a:path>
                </a:pathLst>
              </a:custGeom>
              <a:noFill/>
              <a:ln w="9525" cap="rnd" cmpd="sng">
                <a:solidFill>
                  <a:srgbClr val="4B4D4E"/>
                </a:solidFill>
                <a:prstDash val="solid"/>
                <a:miter lim="22739"/>
                <a:headEnd type="none" w="sm" len="sm"/>
                <a:tailEnd type="none" w="sm" len="sm"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0967BAA1-41ED-4F2C-BC51-F1F7872461C9}"/>
              </a:ext>
            </a:extLst>
          </p:cNvPr>
          <p:cNvGrpSpPr/>
          <p:nvPr/>
        </p:nvGrpSpPr>
        <p:grpSpPr>
          <a:xfrm>
            <a:off x="6259080" y="5388914"/>
            <a:ext cx="508315" cy="311181"/>
            <a:chOff x="6369726" y="6274718"/>
            <a:chExt cx="508315" cy="311181"/>
          </a:xfrm>
        </p:grpSpPr>
        <p:grpSp>
          <p:nvGrpSpPr>
            <p:cNvPr id="122" name="Google Shape;937;p81">
              <a:extLst>
                <a:ext uri="{FF2B5EF4-FFF2-40B4-BE49-F238E27FC236}">
                  <a16:creationId xmlns:a16="http://schemas.microsoft.com/office/drawing/2014/main" id="{6FF4E7F9-0101-47DC-BD57-0B93516F0D65}"/>
                </a:ext>
              </a:extLst>
            </p:cNvPr>
            <p:cNvGrpSpPr/>
            <p:nvPr/>
          </p:nvGrpSpPr>
          <p:grpSpPr>
            <a:xfrm>
              <a:off x="6369726" y="6274718"/>
              <a:ext cx="150167" cy="311181"/>
              <a:chOff x="2578025" y="2206950"/>
              <a:chExt cx="289400" cy="568525"/>
            </a:xfrm>
          </p:grpSpPr>
          <p:sp>
            <p:nvSpPr>
              <p:cNvPr id="133" name="Google Shape;938;p81">
                <a:extLst>
                  <a:ext uri="{FF2B5EF4-FFF2-40B4-BE49-F238E27FC236}">
                    <a16:creationId xmlns:a16="http://schemas.microsoft.com/office/drawing/2014/main" id="{84A824E8-FE03-432C-B659-685C4664DFF0}"/>
                  </a:ext>
                </a:extLst>
              </p:cNvPr>
              <p:cNvSpPr/>
              <p:nvPr/>
            </p:nvSpPr>
            <p:spPr>
              <a:xfrm>
                <a:off x="2578025" y="2206950"/>
                <a:ext cx="289400" cy="568525"/>
              </a:xfrm>
              <a:custGeom>
                <a:avLst/>
                <a:gdLst/>
                <a:ahLst/>
                <a:cxnLst/>
                <a:rect l="l" t="t" r="r" b="b"/>
                <a:pathLst>
                  <a:path w="11576" h="22741" extrusionOk="0">
                    <a:moveTo>
                      <a:pt x="1001" y="0"/>
                    </a:moveTo>
                    <a:cubicBezTo>
                      <a:pt x="433" y="0"/>
                      <a:pt x="1" y="432"/>
                      <a:pt x="1" y="978"/>
                    </a:cubicBezTo>
                    <a:lnTo>
                      <a:pt x="1" y="21762"/>
                    </a:lnTo>
                    <a:cubicBezTo>
                      <a:pt x="1" y="22308"/>
                      <a:pt x="433" y="22740"/>
                      <a:pt x="1001" y="22740"/>
                    </a:cubicBezTo>
                    <a:lnTo>
                      <a:pt x="10598" y="22740"/>
                    </a:lnTo>
                    <a:cubicBezTo>
                      <a:pt x="11143" y="22740"/>
                      <a:pt x="11576" y="22308"/>
                      <a:pt x="11576" y="21762"/>
                    </a:cubicBezTo>
                    <a:lnTo>
                      <a:pt x="11576" y="978"/>
                    </a:lnTo>
                    <a:cubicBezTo>
                      <a:pt x="11576" y="432"/>
                      <a:pt x="11143" y="0"/>
                      <a:pt x="10598" y="0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4" name="Google Shape;939;p81">
                <a:extLst>
                  <a:ext uri="{FF2B5EF4-FFF2-40B4-BE49-F238E27FC236}">
                    <a16:creationId xmlns:a16="http://schemas.microsoft.com/office/drawing/2014/main" id="{A2FC416F-7551-401C-89EC-A2BF1242851F}"/>
                  </a:ext>
                </a:extLst>
              </p:cNvPr>
              <p:cNvSpPr/>
              <p:nvPr/>
            </p:nvSpPr>
            <p:spPr>
              <a:xfrm>
                <a:off x="2590550" y="2292800"/>
                <a:ext cx="264375" cy="396825"/>
              </a:xfrm>
              <a:custGeom>
                <a:avLst/>
                <a:gdLst/>
                <a:ahLst/>
                <a:cxnLst/>
                <a:rect l="l" t="t" r="r" b="b"/>
                <a:pathLst>
                  <a:path w="10575" h="15873" extrusionOk="0">
                    <a:moveTo>
                      <a:pt x="0" y="0"/>
                    </a:moveTo>
                    <a:lnTo>
                      <a:pt x="0" y="15873"/>
                    </a:lnTo>
                    <a:lnTo>
                      <a:pt x="10574" y="15873"/>
                    </a:lnTo>
                    <a:lnTo>
                      <a:pt x="1057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5" name="Google Shape;940;p81">
                <a:extLst>
                  <a:ext uri="{FF2B5EF4-FFF2-40B4-BE49-F238E27FC236}">
                    <a16:creationId xmlns:a16="http://schemas.microsoft.com/office/drawing/2014/main" id="{36709546-C717-4CE5-ABDB-2545C3A0B772}"/>
                  </a:ext>
                </a:extLst>
              </p:cNvPr>
              <p:cNvSpPr/>
              <p:nvPr/>
            </p:nvSpPr>
            <p:spPr>
              <a:xfrm>
                <a:off x="2696275" y="2703800"/>
                <a:ext cx="52900" cy="52900"/>
              </a:xfrm>
              <a:custGeom>
                <a:avLst/>
                <a:gdLst/>
                <a:ahLst/>
                <a:cxnLst/>
                <a:rect l="l" t="t" r="r" b="b"/>
                <a:pathLst>
                  <a:path w="2116" h="2116" extrusionOk="0">
                    <a:moveTo>
                      <a:pt x="1047" y="1"/>
                    </a:moveTo>
                    <a:cubicBezTo>
                      <a:pt x="478" y="1"/>
                      <a:pt x="1" y="456"/>
                      <a:pt x="1" y="1047"/>
                    </a:cubicBezTo>
                    <a:cubicBezTo>
                      <a:pt x="1" y="1638"/>
                      <a:pt x="478" y="2116"/>
                      <a:pt x="1047" y="2116"/>
                    </a:cubicBezTo>
                    <a:cubicBezTo>
                      <a:pt x="1638" y="2116"/>
                      <a:pt x="2116" y="1638"/>
                      <a:pt x="2116" y="1047"/>
                    </a:cubicBezTo>
                    <a:cubicBezTo>
                      <a:pt x="2116" y="456"/>
                      <a:pt x="1638" y="1"/>
                      <a:pt x="1047" y="1"/>
                    </a:cubicBezTo>
                    <a:close/>
                  </a:path>
                </a:pathLst>
              </a:custGeom>
              <a:solidFill>
                <a:srgbClr val="7D7E7D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6" name="Google Shape;941;p81">
                <a:extLst>
                  <a:ext uri="{FF2B5EF4-FFF2-40B4-BE49-F238E27FC236}">
                    <a16:creationId xmlns:a16="http://schemas.microsoft.com/office/drawing/2014/main" id="{C0E62F2D-B639-4E4C-A79D-A5D581567DC9}"/>
                  </a:ext>
                </a:extLst>
              </p:cNvPr>
              <p:cNvSpPr/>
              <p:nvPr/>
            </p:nvSpPr>
            <p:spPr>
              <a:xfrm>
                <a:off x="2696850" y="2242750"/>
                <a:ext cx="52325" cy="14250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570" extrusionOk="0">
                    <a:moveTo>
                      <a:pt x="410" y="1"/>
                    </a:moveTo>
                    <a:cubicBezTo>
                      <a:pt x="182" y="1"/>
                      <a:pt x="1" y="115"/>
                      <a:pt x="1" y="274"/>
                    </a:cubicBezTo>
                    <a:cubicBezTo>
                      <a:pt x="1" y="433"/>
                      <a:pt x="182" y="569"/>
                      <a:pt x="410" y="569"/>
                    </a:cubicBezTo>
                    <a:lnTo>
                      <a:pt x="1683" y="569"/>
                    </a:lnTo>
                    <a:cubicBezTo>
                      <a:pt x="1911" y="569"/>
                      <a:pt x="2093" y="433"/>
                      <a:pt x="2093" y="274"/>
                    </a:cubicBezTo>
                    <a:cubicBezTo>
                      <a:pt x="2093" y="115"/>
                      <a:pt x="1911" y="1"/>
                      <a:pt x="1706" y="1"/>
                    </a:cubicBezTo>
                    <a:close/>
                  </a:path>
                </a:pathLst>
              </a:custGeom>
              <a:solidFill>
                <a:srgbClr val="7D7E7D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23" name="Google Shape;942;p81">
              <a:extLst>
                <a:ext uri="{FF2B5EF4-FFF2-40B4-BE49-F238E27FC236}">
                  <a16:creationId xmlns:a16="http://schemas.microsoft.com/office/drawing/2014/main" id="{7333D01D-58B0-4120-94CD-911E014C1BC3}"/>
                </a:ext>
              </a:extLst>
            </p:cNvPr>
            <p:cNvGrpSpPr/>
            <p:nvPr/>
          </p:nvGrpSpPr>
          <p:grpSpPr>
            <a:xfrm>
              <a:off x="6560038" y="6274718"/>
              <a:ext cx="318003" cy="228094"/>
              <a:chOff x="3303450" y="2292225"/>
              <a:chExt cx="612850" cy="416725"/>
            </a:xfrm>
          </p:grpSpPr>
          <p:sp>
            <p:nvSpPr>
              <p:cNvPr id="124" name="Google Shape;943;p81">
                <a:extLst>
                  <a:ext uri="{FF2B5EF4-FFF2-40B4-BE49-F238E27FC236}">
                    <a16:creationId xmlns:a16="http://schemas.microsoft.com/office/drawing/2014/main" id="{63D9B6DF-2F70-42E5-A56E-B6BBC79A98D2}"/>
                  </a:ext>
                </a:extLst>
              </p:cNvPr>
              <p:cNvSpPr/>
              <p:nvPr/>
            </p:nvSpPr>
            <p:spPr>
              <a:xfrm>
                <a:off x="3303450" y="2601050"/>
                <a:ext cx="117125" cy="98250"/>
              </a:xfrm>
              <a:custGeom>
                <a:avLst/>
                <a:gdLst/>
                <a:ahLst/>
                <a:cxnLst/>
                <a:rect l="l" t="t" r="r" b="b"/>
                <a:pathLst>
                  <a:path w="4685" h="3930" extrusionOk="0">
                    <a:moveTo>
                      <a:pt x="2351" y="1"/>
                    </a:moveTo>
                    <a:cubicBezTo>
                      <a:pt x="2172" y="1"/>
                      <a:pt x="1990" y="120"/>
                      <a:pt x="1842" y="359"/>
                    </a:cubicBezTo>
                    <a:lnTo>
                      <a:pt x="273" y="3065"/>
                    </a:lnTo>
                    <a:cubicBezTo>
                      <a:pt x="0" y="3543"/>
                      <a:pt x="227" y="3929"/>
                      <a:pt x="773" y="3929"/>
                    </a:cubicBezTo>
                    <a:lnTo>
                      <a:pt x="3911" y="3929"/>
                    </a:lnTo>
                    <a:cubicBezTo>
                      <a:pt x="4457" y="3929"/>
                      <a:pt x="4684" y="3543"/>
                      <a:pt x="4412" y="3065"/>
                    </a:cubicBezTo>
                    <a:lnTo>
                      <a:pt x="2843" y="359"/>
                    </a:lnTo>
                    <a:cubicBezTo>
                      <a:pt x="2706" y="120"/>
                      <a:pt x="2530" y="1"/>
                      <a:pt x="2351" y="1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5" name="Google Shape;944;p81">
                <a:extLst>
                  <a:ext uri="{FF2B5EF4-FFF2-40B4-BE49-F238E27FC236}">
                    <a16:creationId xmlns:a16="http://schemas.microsoft.com/office/drawing/2014/main" id="{8B3CC446-07C8-44F0-8888-F4FC0DE9D0B6}"/>
                  </a:ext>
                </a:extLst>
              </p:cNvPr>
              <p:cNvSpPr/>
              <p:nvPr/>
            </p:nvSpPr>
            <p:spPr>
              <a:xfrm>
                <a:off x="3799175" y="2601050"/>
                <a:ext cx="117125" cy="98250"/>
              </a:xfrm>
              <a:custGeom>
                <a:avLst/>
                <a:gdLst/>
                <a:ahLst/>
                <a:cxnLst/>
                <a:rect l="l" t="t" r="r" b="b"/>
                <a:pathLst>
                  <a:path w="4685" h="3930" extrusionOk="0">
                    <a:moveTo>
                      <a:pt x="2351" y="1"/>
                    </a:moveTo>
                    <a:cubicBezTo>
                      <a:pt x="2172" y="1"/>
                      <a:pt x="1990" y="120"/>
                      <a:pt x="1842" y="359"/>
                    </a:cubicBezTo>
                    <a:lnTo>
                      <a:pt x="273" y="3065"/>
                    </a:lnTo>
                    <a:cubicBezTo>
                      <a:pt x="0" y="3543"/>
                      <a:pt x="228" y="3929"/>
                      <a:pt x="773" y="3929"/>
                    </a:cubicBezTo>
                    <a:lnTo>
                      <a:pt x="3912" y="3929"/>
                    </a:lnTo>
                    <a:cubicBezTo>
                      <a:pt x="4457" y="3929"/>
                      <a:pt x="4685" y="3543"/>
                      <a:pt x="4412" y="3065"/>
                    </a:cubicBezTo>
                    <a:lnTo>
                      <a:pt x="2843" y="359"/>
                    </a:lnTo>
                    <a:cubicBezTo>
                      <a:pt x="2706" y="120"/>
                      <a:pt x="2530" y="1"/>
                      <a:pt x="2351" y="1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6" name="Google Shape;945;p81">
                <a:extLst>
                  <a:ext uri="{FF2B5EF4-FFF2-40B4-BE49-F238E27FC236}">
                    <a16:creationId xmlns:a16="http://schemas.microsoft.com/office/drawing/2014/main" id="{B34B8B2E-77B1-4D31-86FB-84E4E1535F2D}"/>
                  </a:ext>
                </a:extLst>
              </p:cNvPr>
              <p:cNvSpPr/>
              <p:nvPr/>
            </p:nvSpPr>
            <p:spPr>
              <a:xfrm>
                <a:off x="3345500" y="2292225"/>
                <a:ext cx="528175" cy="343950"/>
              </a:xfrm>
              <a:custGeom>
                <a:avLst/>
                <a:gdLst/>
                <a:ahLst/>
                <a:cxnLst/>
                <a:rect l="l" t="t" r="r" b="b"/>
                <a:pathLst>
                  <a:path w="21127" h="13758" extrusionOk="0">
                    <a:moveTo>
                      <a:pt x="1001" y="0"/>
                    </a:moveTo>
                    <a:cubicBezTo>
                      <a:pt x="456" y="0"/>
                      <a:pt x="1" y="455"/>
                      <a:pt x="1" y="1001"/>
                    </a:cubicBezTo>
                    <a:lnTo>
                      <a:pt x="1" y="12780"/>
                    </a:lnTo>
                    <a:cubicBezTo>
                      <a:pt x="1" y="13326"/>
                      <a:pt x="456" y="13758"/>
                      <a:pt x="1001" y="13758"/>
                    </a:cubicBezTo>
                    <a:lnTo>
                      <a:pt x="20126" y="13758"/>
                    </a:lnTo>
                    <a:cubicBezTo>
                      <a:pt x="20671" y="13758"/>
                      <a:pt x="21126" y="13326"/>
                      <a:pt x="21126" y="12780"/>
                    </a:cubicBezTo>
                    <a:lnTo>
                      <a:pt x="21126" y="1001"/>
                    </a:lnTo>
                    <a:cubicBezTo>
                      <a:pt x="21126" y="455"/>
                      <a:pt x="20671" y="0"/>
                      <a:pt x="20126" y="0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7" name="Google Shape;946;p81">
                <a:extLst>
                  <a:ext uri="{FF2B5EF4-FFF2-40B4-BE49-F238E27FC236}">
                    <a16:creationId xmlns:a16="http://schemas.microsoft.com/office/drawing/2014/main" id="{B4B074EE-CC99-4519-87C2-4CBDED838020}"/>
                  </a:ext>
                </a:extLst>
              </p:cNvPr>
              <p:cNvSpPr/>
              <p:nvPr/>
            </p:nvSpPr>
            <p:spPr>
              <a:xfrm>
                <a:off x="3345500" y="2615125"/>
                <a:ext cx="528175" cy="84175"/>
              </a:xfrm>
              <a:custGeom>
                <a:avLst/>
                <a:gdLst/>
                <a:ahLst/>
                <a:cxnLst/>
                <a:rect l="l" t="t" r="r" b="b"/>
                <a:pathLst>
                  <a:path w="21127" h="3367" extrusionOk="0">
                    <a:moveTo>
                      <a:pt x="1001" y="1"/>
                    </a:moveTo>
                    <a:cubicBezTo>
                      <a:pt x="456" y="1"/>
                      <a:pt x="1" y="433"/>
                      <a:pt x="1" y="978"/>
                    </a:cubicBezTo>
                    <a:lnTo>
                      <a:pt x="1" y="2388"/>
                    </a:lnTo>
                    <a:cubicBezTo>
                      <a:pt x="1" y="2934"/>
                      <a:pt x="456" y="3366"/>
                      <a:pt x="1001" y="3366"/>
                    </a:cubicBezTo>
                    <a:lnTo>
                      <a:pt x="20126" y="3366"/>
                    </a:lnTo>
                    <a:cubicBezTo>
                      <a:pt x="20671" y="3366"/>
                      <a:pt x="21126" y="2934"/>
                      <a:pt x="21126" y="2388"/>
                    </a:cubicBezTo>
                    <a:lnTo>
                      <a:pt x="21126" y="978"/>
                    </a:lnTo>
                    <a:cubicBezTo>
                      <a:pt x="21126" y="433"/>
                      <a:pt x="20671" y="1"/>
                      <a:pt x="20126" y="1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8" name="Google Shape;947;p81">
                <a:extLst>
                  <a:ext uri="{FF2B5EF4-FFF2-40B4-BE49-F238E27FC236}">
                    <a16:creationId xmlns:a16="http://schemas.microsoft.com/office/drawing/2014/main" id="{663CD9D7-351B-4A25-BA48-B18A28693A99}"/>
                  </a:ext>
                </a:extLst>
              </p:cNvPr>
              <p:cNvSpPr/>
              <p:nvPr/>
            </p:nvSpPr>
            <p:spPr>
              <a:xfrm>
                <a:off x="3306850" y="2676475"/>
                <a:ext cx="605475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24219" h="1299" extrusionOk="0">
                    <a:moveTo>
                      <a:pt x="443" y="1"/>
                    </a:moveTo>
                    <a:cubicBezTo>
                      <a:pt x="207" y="1"/>
                      <a:pt x="2" y="219"/>
                      <a:pt x="23" y="457"/>
                    </a:cubicBezTo>
                    <a:lnTo>
                      <a:pt x="23" y="821"/>
                    </a:lnTo>
                    <a:cubicBezTo>
                      <a:pt x="0" y="1071"/>
                      <a:pt x="228" y="1299"/>
                      <a:pt x="478" y="1299"/>
                    </a:cubicBezTo>
                    <a:lnTo>
                      <a:pt x="23764" y="1299"/>
                    </a:lnTo>
                    <a:cubicBezTo>
                      <a:pt x="24014" y="1299"/>
                      <a:pt x="24219" y="1071"/>
                      <a:pt x="24219" y="821"/>
                    </a:cubicBezTo>
                    <a:lnTo>
                      <a:pt x="24219" y="457"/>
                    </a:lnTo>
                    <a:cubicBezTo>
                      <a:pt x="24219" y="207"/>
                      <a:pt x="24014" y="2"/>
                      <a:pt x="23764" y="2"/>
                    </a:cubicBezTo>
                    <a:lnTo>
                      <a:pt x="478" y="2"/>
                    </a:lnTo>
                    <a:cubicBezTo>
                      <a:pt x="466" y="1"/>
                      <a:pt x="455" y="1"/>
                      <a:pt x="443" y="1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9" name="Google Shape;948;p81">
                <a:extLst>
                  <a:ext uri="{FF2B5EF4-FFF2-40B4-BE49-F238E27FC236}">
                    <a16:creationId xmlns:a16="http://schemas.microsoft.com/office/drawing/2014/main" id="{AE8599FF-FA85-4D9F-A512-1DBE376F8B61}"/>
                  </a:ext>
                </a:extLst>
              </p:cNvPr>
              <p:cNvSpPr/>
              <p:nvPr/>
            </p:nvSpPr>
            <p:spPr>
              <a:xfrm>
                <a:off x="3369375" y="2317225"/>
                <a:ext cx="480975" cy="279175"/>
              </a:xfrm>
              <a:custGeom>
                <a:avLst/>
                <a:gdLst/>
                <a:ahLst/>
                <a:cxnLst/>
                <a:rect l="l" t="t" r="r" b="b"/>
                <a:pathLst>
                  <a:path w="19239" h="11167" extrusionOk="0">
                    <a:moveTo>
                      <a:pt x="1" y="1"/>
                    </a:moveTo>
                    <a:lnTo>
                      <a:pt x="1" y="11166"/>
                    </a:lnTo>
                    <a:lnTo>
                      <a:pt x="19239" y="11166"/>
                    </a:lnTo>
                    <a:lnTo>
                      <a:pt x="1923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0" name="Google Shape;949;p81">
                <a:extLst>
                  <a:ext uri="{FF2B5EF4-FFF2-40B4-BE49-F238E27FC236}">
                    <a16:creationId xmlns:a16="http://schemas.microsoft.com/office/drawing/2014/main" id="{AA2E11E5-51EA-4F58-A424-C71B9BF074F0}"/>
                  </a:ext>
                </a:extLst>
              </p:cNvPr>
              <p:cNvSpPr/>
              <p:nvPr/>
            </p:nvSpPr>
            <p:spPr>
              <a:xfrm>
                <a:off x="3606450" y="2301875"/>
                <a:ext cx="6275" cy="6850"/>
              </a:xfrm>
              <a:custGeom>
                <a:avLst/>
                <a:gdLst/>
                <a:ahLst/>
                <a:cxnLst/>
                <a:rect l="l" t="t" r="r" b="b"/>
                <a:pathLst>
                  <a:path w="251" h="274" extrusionOk="0">
                    <a:moveTo>
                      <a:pt x="137" y="1"/>
                    </a:moveTo>
                    <a:cubicBezTo>
                      <a:pt x="46" y="1"/>
                      <a:pt x="0" y="69"/>
                      <a:pt x="0" y="137"/>
                    </a:cubicBezTo>
                    <a:cubicBezTo>
                      <a:pt x="0" y="206"/>
                      <a:pt x="46" y="274"/>
                      <a:pt x="137" y="274"/>
                    </a:cubicBezTo>
                    <a:cubicBezTo>
                      <a:pt x="205" y="274"/>
                      <a:pt x="251" y="206"/>
                      <a:pt x="251" y="137"/>
                    </a:cubicBezTo>
                    <a:cubicBezTo>
                      <a:pt x="251" y="69"/>
                      <a:pt x="205" y="1"/>
                      <a:pt x="137" y="1"/>
                    </a:cubicBezTo>
                    <a:close/>
                  </a:path>
                </a:pathLst>
              </a:custGeom>
              <a:solidFill>
                <a:srgbClr val="7D7E7D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1" name="Google Shape;950;p81">
                <a:extLst>
                  <a:ext uri="{FF2B5EF4-FFF2-40B4-BE49-F238E27FC236}">
                    <a16:creationId xmlns:a16="http://schemas.microsoft.com/office/drawing/2014/main" id="{A518CD04-871B-4834-8235-6E6878F9DB74}"/>
                  </a:ext>
                </a:extLst>
              </p:cNvPr>
              <p:cNvSpPr/>
              <p:nvPr/>
            </p:nvSpPr>
            <p:spPr>
              <a:xfrm>
                <a:off x="3346650" y="2621375"/>
                <a:ext cx="527025" cy="51775"/>
              </a:xfrm>
              <a:custGeom>
                <a:avLst/>
                <a:gdLst/>
                <a:ahLst/>
                <a:cxnLst/>
                <a:rect l="l" t="t" r="r" b="b"/>
                <a:pathLst>
                  <a:path w="21081" h="2071" extrusionOk="0">
                    <a:moveTo>
                      <a:pt x="1160" y="1"/>
                    </a:moveTo>
                    <a:lnTo>
                      <a:pt x="0" y="2070"/>
                    </a:lnTo>
                    <a:lnTo>
                      <a:pt x="21080" y="2070"/>
                    </a:lnTo>
                    <a:lnTo>
                      <a:pt x="19920" y="1"/>
                    </a:lnTo>
                    <a:close/>
                  </a:path>
                </a:pathLst>
              </a:custGeom>
              <a:solidFill>
                <a:srgbClr val="7D7E7D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32" name="Google Shape;951;p81">
                <a:extLst>
                  <a:ext uri="{FF2B5EF4-FFF2-40B4-BE49-F238E27FC236}">
                    <a16:creationId xmlns:a16="http://schemas.microsoft.com/office/drawing/2014/main" id="{997FC787-8904-4987-AFBC-FA9E80F4FBF1}"/>
                  </a:ext>
                </a:extLst>
              </p:cNvPr>
              <p:cNvSpPr/>
              <p:nvPr/>
            </p:nvSpPr>
            <p:spPr>
              <a:xfrm>
                <a:off x="3325050" y="2683350"/>
                <a:ext cx="57307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22923" h="1" fill="none" extrusionOk="0">
                    <a:moveTo>
                      <a:pt x="0" y="0"/>
                    </a:moveTo>
                    <a:lnTo>
                      <a:pt x="22922" y="0"/>
                    </a:lnTo>
                  </a:path>
                </a:pathLst>
              </a:custGeom>
              <a:noFill/>
              <a:ln w="9525" cap="rnd" cmpd="sng">
                <a:solidFill>
                  <a:srgbClr val="4B4D4E"/>
                </a:solidFill>
                <a:prstDash val="solid"/>
                <a:miter lim="22739"/>
                <a:headEnd type="none" w="sm" len="sm"/>
                <a:tailEnd type="none" w="sm" len="sm"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E78D6F7E-9BEA-49DB-AB38-6FF0945F3D71}"/>
              </a:ext>
            </a:extLst>
          </p:cNvPr>
          <p:cNvGrpSpPr/>
          <p:nvPr/>
        </p:nvGrpSpPr>
        <p:grpSpPr>
          <a:xfrm>
            <a:off x="2202646" y="5363491"/>
            <a:ext cx="508315" cy="311181"/>
            <a:chOff x="6369726" y="6274718"/>
            <a:chExt cx="508315" cy="311181"/>
          </a:xfrm>
        </p:grpSpPr>
        <p:grpSp>
          <p:nvGrpSpPr>
            <p:cNvPr id="148" name="Google Shape;937;p81">
              <a:extLst>
                <a:ext uri="{FF2B5EF4-FFF2-40B4-BE49-F238E27FC236}">
                  <a16:creationId xmlns:a16="http://schemas.microsoft.com/office/drawing/2014/main" id="{17A66D82-DC61-4467-B1F2-3E33EAB16872}"/>
                </a:ext>
              </a:extLst>
            </p:cNvPr>
            <p:cNvGrpSpPr/>
            <p:nvPr/>
          </p:nvGrpSpPr>
          <p:grpSpPr>
            <a:xfrm>
              <a:off x="6369726" y="6274718"/>
              <a:ext cx="150167" cy="311181"/>
              <a:chOff x="2578025" y="2206950"/>
              <a:chExt cx="289400" cy="568525"/>
            </a:xfrm>
          </p:grpSpPr>
          <p:sp>
            <p:nvSpPr>
              <p:cNvPr id="159" name="Google Shape;938;p81">
                <a:extLst>
                  <a:ext uri="{FF2B5EF4-FFF2-40B4-BE49-F238E27FC236}">
                    <a16:creationId xmlns:a16="http://schemas.microsoft.com/office/drawing/2014/main" id="{DA5AAC99-3887-4339-A819-F0F58A161B32}"/>
                  </a:ext>
                </a:extLst>
              </p:cNvPr>
              <p:cNvSpPr/>
              <p:nvPr/>
            </p:nvSpPr>
            <p:spPr>
              <a:xfrm>
                <a:off x="2578025" y="2206950"/>
                <a:ext cx="289400" cy="568525"/>
              </a:xfrm>
              <a:custGeom>
                <a:avLst/>
                <a:gdLst/>
                <a:ahLst/>
                <a:cxnLst/>
                <a:rect l="l" t="t" r="r" b="b"/>
                <a:pathLst>
                  <a:path w="11576" h="22741" extrusionOk="0">
                    <a:moveTo>
                      <a:pt x="1001" y="0"/>
                    </a:moveTo>
                    <a:cubicBezTo>
                      <a:pt x="433" y="0"/>
                      <a:pt x="1" y="432"/>
                      <a:pt x="1" y="978"/>
                    </a:cubicBezTo>
                    <a:lnTo>
                      <a:pt x="1" y="21762"/>
                    </a:lnTo>
                    <a:cubicBezTo>
                      <a:pt x="1" y="22308"/>
                      <a:pt x="433" y="22740"/>
                      <a:pt x="1001" y="22740"/>
                    </a:cubicBezTo>
                    <a:lnTo>
                      <a:pt x="10598" y="22740"/>
                    </a:lnTo>
                    <a:cubicBezTo>
                      <a:pt x="11143" y="22740"/>
                      <a:pt x="11576" y="22308"/>
                      <a:pt x="11576" y="21762"/>
                    </a:cubicBezTo>
                    <a:lnTo>
                      <a:pt x="11576" y="978"/>
                    </a:lnTo>
                    <a:cubicBezTo>
                      <a:pt x="11576" y="432"/>
                      <a:pt x="11143" y="0"/>
                      <a:pt x="10598" y="0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0" name="Google Shape;939;p81">
                <a:extLst>
                  <a:ext uri="{FF2B5EF4-FFF2-40B4-BE49-F238E27FC236}">
                    <a16:creationId xmlns:a16="http://schemas.microsoft.com/office/drawing/2014/main" id="{103B3465-829D-43DE-896C-71119A1BB534}"/>
                  </a:ext>
                </a:extLst>
              </p:cNvPr>
              <p:cNvSpPr/>
              <p:nvPr/>
            </p:nvSpPr>
            <p:spPr>
              <a:xfrm>
                <a:off x="2590550" y="2292800"/>
                <a:ext cx="264375" cy="396825"/>
              </a:xfrm>
              <a:custGeom>
                <a:avLst/>
                <a:gdLst/>
                <a:ahLst/>
                <a:cxnLst/>
                <a:rect l="l" t="t" r="r" b="b"/>
                <a:pathLst>
                  <a:path w="10575" h="15873" extrusionOk="0">
                    <a:moveTo>
                      <a:pt x="0" y="0"/>
                    </a:moveTo>
                    <a:lnTo>
                      <a:pt x="0" y="15873"/>
                    </a:lnTo>
                    <a:lnTo>
                      <a:pt x="10574" y="15873"/>
                    </a:lnTo>
                    <a:lnTo>
                      <a:pt x="1057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1" name="Google Shape;940;p81">
                <a:extLst>
                  <a:ext uri="{FF2B5EF4-FFF2-40B4-BE49-F238E27FC236}">
                    <a16:creationId xmlns:a16="http://schemas.microsoft.com/office/drawing/2014/main" id="{1F935D57-F522-49C8-B07F-CABF6EE768BE}"/>
                  </a:ext>
                </a:extLst>
              </p:cNvPr>
              <p:cNvSpPr/>
              <p:nvPr/>
            </p:nvSpPr>
            <p:spPr>
              <a:xfrm>
                <a:off x="2696275" y="2703800"/>
                <a:ext cx="52900" cy="52900"/>
              </a:xfrm>
              <a:custGeom>
                <a:avLst/>
                <a:gdLst/>
                <a:ahLst/>
                <a:cxnLst/>
                <a:rect l="l" t="t" r="r" b="b"/>
                <a:pathLst>
                  <a:path w="2116" h="2116" extrusionOk="0">
                    <a:moveTo>
                      <a:pt x="1047" y="1"/>
                    </a:moveTo>
                    <a:cubicBezTo>
                      <a:pt x="478" y="1"/>
                      <a:pt x="1" y="456"/>
                      <a:pt x="1" y="1047"/>
                    </a:cubicBezTo>
                    <a:cubicBezTo>
                      <a:pt x="1" y="1638"/>
                      <a:pt x="478" y="2116"/>
                      <a:pt x="1047" y="2116"/>
                    </a:cubicBezTo>
                    <a:cubicBezTo>
                      <a:pt x="1638" y="2116"/>
                      <a:pt x="2116" y="1638"/>
                      <a:pt x="2116" y="1047"/>
                    </a:cubicBezTo>
                    <a:cubicBezTo>
                      <a:pt x="2116" y="456"/>
                      <a:pt x="1638" y="1"/>
                      <a:pt x="1047" y="1"/>
                    </a:cubicBezTo>
                    <a:close/>
                  </a:path>
                </a:pathLst>
              </a:custGeom>
              <a:solidFill>
                <a:srgbClr val="7D7E7D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62" name="Google Shape;941;p81">
                <a:extLst>
                  <a:ext uri="{FF2B5EF4-FFF2-40B4-BE49-F238E27FC236}">
                    <a16:creationId xmlns:a16="http://schemas.microsoft.com/office/drawing/2014/main" id="{9C56E866-3536-42CF-8AD6-1191E7CA05FC}"/>
                  </a:ext>
                </a:extLst>
              </p:cNvPr>
              <p:cNvSpPr/>
              <p:nvPr/>
            </p:nvSpPr>
            <p:spPr>
              <a:xfrm>
                <a:off x="2696850" y="2242750"/>
                <a:ext cx="52325" cy="14250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570" extrusionOk="0">
                    <a:moveTo>
                      <a:pt x="410" y="1"/>
                    </a:moveTo>
                    <a:cubicBezTo>
                      <a:pt x="182" y="1"/>
                      <a:pt x="1" y="115"/>
                      <a:pt x="1" y="274"/>
                    </a:cubicBezTo>
                    <a:cubicBezTo>
                      <a:pt x="1" y="433"/>
                      <a:pt x="182" y="569"/>
                      <a:pt x="410" y="569"/>
                    </a:cubicBezTo>
                    <a:lnTo>
                      <a:pt x="1683" y="569"/>
                    </a:lnTo>
                    <a:cubicBezTo>
                      <a:pt x="1911" y="569"/>
                      <a:pt x="2093" y="433"/>
                      <a:pt x="2093" y="274"/>
                    </a:cubicBezTo>
                    <a:cubicBezTo>
                      <a:pt x="2093" y="115"/>
                      <a:pt x="1911" y="1"/>
                      <a:pt x="1706" y="1"/>
                    </a:cubicBezTo>
                    <a:close/>
                  </a:path>
                </a:pathLst>
              </a:custGeom>
              <a:solidFill>
                <a:srgbClr val="7D7E7D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149" name="Google Shape;942;p81">
              <a:extLst>
                <a:ext uri="{FF2B5EF4-FFF2-40B4-BE49-F238E27FC236}">
                  <a16:creationId xmlns:a16="http://schemas.microsoft.com/office/drawing/2014/main" id="{3D39AEEB-B5CA-45C2-8CF9-9A9AE76D7BB8}"/>
                </a:ext>
              </a:extLst>
            </p:cNvPr>
            <p:cNvGrpSpPr/>
            <p:nvPr/>
          </p:nvGrpSpPr>
          <p:grpSpPr>
            <a:xfrm>
              <a:off x="6560038" y="6274718"/>
              <a:ext cx="318003" cy="228094"/>
              <a:chOff x="3303450" y="2292225"/>
              <a:chExt cx="612850" cy="416725"/>
            </a:xfrm>
          </p:grpSpPr>
          <p:sp>
            <p:nvSpPr>
              <p:cNvPr id="150" name="Google Shape;943;p81">
                <a:extLst>
                  <a:ext uri="{FF2B5EF4-FFF2-40B4-BE49-F238E27FC236}">
                    <a16:creationId xmlns:a16="http://schemas.microsoft.com/office/drawing/2014/main" id="{00AF9287-05F3-4632-B1BD-042377B3A926}"/>
                  </a:ext>
                </a:extLst>
              </p:cNvPr>
              <p:cNvSpPr/>
              <p:nvPr/>
            </p:nvSpPr>
            <p:spPr>
              <a:xfrm>
                <a:off x="3303450" y="2601050"/>
                <a:ext cx="117125" cy="98250"/>
              </a:xfrm>
              <a:custGeom>
                <a:avLst/>
                <a:gdLst/>
                <a:ahLst/>
                <a:cxnLst/>
                <a:rect l="l" t="t" r="r" b="b"/>
                <a:pathLst>
                  <a:path w="4685" h="3930" extrusionOk="0">
                    <a:moveTo>
                      <a:pt x="2351" y="1"/>
                    </a:moveTo>
                    <a:cubicBezTo>
                      <a:pt x="2172" y="1"/>
                      <a:pt x="1990" y="120"/>
                      <a:pt x="1842" y="359"/>
                    </a:cubicBezTo>
                    <a:lnTo>
                      <a:pt x="273" y="3065"/>
                    </a:lnTo>
                    <a:cubicBezTo>
                      <a:pt x="0" y="3543"/>
                      <a:pt x="227" y="3929"/>
                      <a:pt x="773" y="3929"/>
                    </a:cubicBezTo>
                    <a:lnTo>
                      <a:pt x="3911" y="3929"/>
                    </a:lnTo>
                    <a:cubicBezTo>
                      <a:pt x="4457" y="3929"/>
                      <a:pt x="4684" y="3543"/>
                      <a:pt x="4412" y="3065"/>
                    </a:cubicBezTo>
                    <a:lnTo>
                      <a:pt x="2843" y="359"/>
                    </a:lnTo>
                    <a:cubicBezTo>
                      <a:pt x="2706" y="120"/>
                      <a:pt x="2530" y="1"/>
                      <a:pt x="2351" y="1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1" name="Google Shape;944;p81">
                <a:extLst>
                  <a:ext uri="{FF2B5EF4-FFF2-40B4-BE49-F238E27FC236}">
                    <a16:creationId xmlns:a16="http://schemas.microsoft.com/office/drawing/2014/main" id="{3FE1517E-178E-4272-9E4B-3F9CB620E791}"/>
                  </a:ext>
                </a:extLst>
              </p:cNvPr>
              <p:cNvSpPr/>
              <p:nvPr/>
            </p:nvSpPr>
            <p:spPr>
              <a:xfrm>
                <a:off x="3799175" y="2601050"/>
                <a:ext cx="117125" cy="98250"/>
              </a:xfrm>
              <a:custGeom>
                <a:avLst/>
                <a:gdLst/>
                <a:ahLst/>
                <a:cxnLst/>
                <a:rect l="l" t="t" r="r" b="b"/>
                <a:pathLst>
                  <a:path w="4685" h="3930" extrusionOk="0">
                    <a:moveTo>
                      <a:pt x="2351" y="1"/>
                    </a:moveTo>
                    <a:cubicBezTo>
                      <a:pt x="2172" y="1"/>
                      <a:pt x="1990" y="120"/>
                      <a:pt x="1842" y="359"/>
                    </a:cubicBezTo>
                    <a:lnTo>
                      <a:pt x="273" y="3065"/>
                    </a:lnTo>
                    <a:cubicBezTo>
                      <a:pt x="0" y="3543"/>
                      <a:pt x="228" y="3929"/>
                      <a:pt x="773" y="3929"/>
                    </a:cubicBezTo>
                    <a:lnTo>
                      <a:pt x="3912" y="3929"/>
                    </a:lnTo>
                    <a:cubicBezTo>
                      <a:pt x="4457" y="3929"/>
                      <a:pt x="4685" y="3543"/>
                      <a:pt x="4412" y="3065"/>
                    </a:cubicBezTo>
                    <a:lnTo>
                      <a:pt x="2843" y="359"/>
                    </a:lnTo>
                    <a:cubicBezTo>
                      <a:pt x="2706" y="120"/>
                      <a:pt x="2530" y="1"/>
                      <a:pt x="2351" y="1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2" name="Google Shape;945;p81">
                <a:extLst>
                  <a:ext uri="{FF2B5EF4-FFF2-40B4-BE49-F238E27FC236}">
                    <a16:creationId xmlns:a16="http://schemas.microsoft.com/office/drawing/2014/main" id="{6B520BC5-3BD2-4C66-9BF4-A9976EB080C2}"/>
                  </a:ext>
                </a:extLst>
              </p:cNvPr>
              <p:cNvSpPr/>
              <p:nvPr/>
            </p:nvSpPr>
            <p:spPr>
              <a:xfrm>
                <a:off x="3345500" y="2292225"/>
                <a:ext cx="528175" cy="343950"/>
              </a:xfrm>
              <a:custGeom>
                <a:avLst/>
                <a:gdLst/>
                <a:ahLst/>
                <a:cxnLst/>
                <a:rect l="l" t="t" r="r" b="b"/>
                <a:pathLst>
                  <a:path w="21127" h="13758" extrusionOk="0">
                    <a:moveTo>
                      <a:pt x="1001" y="0"/>
                    </a:moveTo>
                    <a:cubicBezTo>
                      <a:pt x="456" y="0"/>
                      <a:pt x="1" y="455"/>
                      <a:pt x="1" y="1001"/>
                    </a:cubicBezTo>
                    <a:lnTo>
                      <a:pt x="1" y="12780"/>
                    </a:lnTo>
                    <a:cubicBezTo>
                      <a:pt x="1" y="13326"/>
                      <a:pt x="456" y="13758"/>
                      <a:pt x="1001" y="13758"/>
                    </a:cubicBezTo>
                    <a:lnTo>
                      <a:pt x="20126" y="13758"/>
                    </a:lnTo>
                    <a:cubicBezTo>
                      <a:pt x="20671" y="13758"/>
                      <a:pt x="21126" y="13326"/>
                      <a:pt x="21126" y="12780"/>
                    </a:cubicBezTo>
                    <a:lnTo>
                      <a:pt x="21126" y="1001"/>
                    </a:lnTo>
                    <a:cubicBezTo>
                      <a:pt x="21126" y="455"/>
                      <a:pt x="20671" y="0"/>
                      <a:pt x="20126" y="0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3" name="Google Shape;946;p81">
                <a:extLst>
                  <a:ext uri="{FF2B5EF4-FFF2-40B4-BE49-F238E27FC236}">
                    <a16:creationId xmlns:a16="http://schemas.microsoft.com/office/drawing/2014/main" id="{35733366-5E5E-47FE-9885-DB1FB43574E4}"/>
                  </a:ext>
                </a:extLst>
              </p:cNvPr>
              <p:cNvSpPr/>
              <p:nvPr/>
            </p:nvSpPr>
            <p:spPr>
              <a:xfrm>
                <a:off x="3345500" y="2615125"/>
                <a:ext cx="528175" cy="84175"/>
              </a:xfrm>
              <a:custGeom>
                <a:avLst/>
                <a:gdLst/>
                <a:ahLst/>
                <a:cxnLst/>
                <a:rect l="l" t="t" r="r" b="b"/>
                <a:pathLst>
                  <a:path w="21127" h="3367" extrusionOk="0">
                    <a:moveTo>
                      <a:pt x="1001" y="1"/>
                    </a:moveTo>
                    <a:cubicBezTo>
                      <a:pt x="456" y="1"/>
                      <a:pt x="1" y="433"/>
                      <a:pt x="1" y="978"/>
                    </a:cubicBezTo>
                    <a:lnTo>
                      <a:pt x="1" y="2388"/>
                    </a:lnTo>
                    <a:cubicBezTo>
                      <a:pt x="1" y="2934"/>
                      <a:pt x="456" y="3366"/>
                      <a:pt x="1001" y="3366"/>
                    </a:cubicBezTo>
                    <a:lnTo>
                      <a:pt x="20126" y="3366"/>
                    </a:lnTo>
                    <a:cubicBezTo>
                      <a:pt x="20671" y="3366"/>
                      <a:pt x="21126" y="2934"/>
                      <a:pt x="21126" y="2388"/>
                    </a:cubicBezTo>
                    <a:lnTo>
                      <a:pt x="21126" y="978"/>
                    </a:lnTo>
                    <a:cubicBezTo>
                      <a:pt x="21126" y="433"/>
                      <a:pt x="20671" y="1"/>
                      <a:pt x="20126" y="1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4" name="Google Shape;947;p81">
                <a:extLst>
                  <a:ext uri="{FF2B5EF4-FFF2-40B4-BE49-F238E27FC236}">
                    <a16:creationId xmlns:a16="http://schemas.microsoft.com/office/drawing/2014/main" id="{A0DF9E45-C12C-4852-9649-720BA8F3DFAD}"/>
                  </a:ext>
                </a:extLst>
              </p:cNvPr>
              <p:cNvSpPr/>
              <p:nvPr/>
            </p:nvSpPr>
            <p:spPr>
              <a:xfrm>
                <a:off x="3306850" y="2676475"/>
                <a:ext cx="605475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24219" h="1299" extrusionOk="0">
                    <a:moveTo>
                      <a:pt x="443" y="1"/>
                    </a:moveTo>
                    <a:cubicBezTo>
                      <a:pt x="207" y="1"/>
                      <a:pt x="2" y="219"/>
                      <a:pt x="23" y="457"/>
                    </a:cubicBezTo>
                    <a:lnTo>
                      <a:pt x="23" y="821"/>
                    </a:lnTo>
                    <a:cubicBezTo>
                      <a:pt x="0" y="1071"/>
                      <a:pt x="228" y="1299"/>
                      <a:pt x="478" y="1299"/>
                    </a:cubicBezTo>
                    <a:lnTo>
                      <a:pt x="23764" y="1299"/>
                    </a:lnTo>
                    <a:cubicBezTo>
                      <a:pt x="24014" y="1299"/>
                      <a:pt x="24219" y="1071"/>
                      <a:pt x="24219" y="821"/>
                    </a:cubicBezTo>
                    <a:lnTo>
                      <a:pt x="24219" y="457"/>
                    </a:lnTo>
                    <a:cubicBezTo>
                      <a:pt x="24219" y="207"/>
                      <a:pt x="24014" y="2"/>
                      <a:pt x="23764" y="2"/>
                    </a:cubicBezTo>
                    <a:lnTo>
                      <a:pt x="478" y="2"/>
                    </a:lnTo>
                    <a:cubicBezTo>
                      <a:pt x="466" y="1"/>
                      <a:pt x="455" y="1"/>
                      <a:pt x="443" y="1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5" name="Google Shape;948;p81">
                <a:extLst>
                  <a:ext uri="{FF2B5EF4-FFF2-40B4-BE49-F238E27FC236}">
                    <a16:creationId xmlns:a16="http://schemas.microsoft.com/office/drawing/2014/main" id="{08DB260A-17F0-4371-A24D-E34D72E94DCB}"/>
                  </a:ext>
                </a:extLst>
              </p:cNvPr>
              <p:cNvSpPr/>
              <p:nvPr/>
            </p:nvSpPr>
            <p:spPr>
              <a:xfrm>
                <a:off x="3369375" y="2317225"/>
                <a:ext cx="480975" cy="279175"/>
              </a:xfrm>
              <a:custGeom>
                <a:avLst/>
                <a:gdLst/>
                <a:ahLst/>
                <a:cxnLst/>
                <a:rect l="l" t="t" r="r" b="b"/>
                <a:pathLst>
                  <a:path w="19239" h="11167" extrusionOk="0">
                    <a:moveTo>
                      <a:pt x="1" y="1"/>
                    </a:moveTo>
                    <a:lnTo>
                      <a:pt x="1" y="11166"/>
                    </a:lnTo>
                    <a:lnTo>
                      <a:pt x="19239" y="11166"/>
                    </a:lnTo>
                    <a:lnTo>
                      <a:pt x="1923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6" name="Google Shape;949;p81">
                <a:extLst>
                  <a:ext uri="{FF2B5EF4-FFF2-40B4-BE49-F238E27FC236}">
                    <a16:creationId xmlns:a16="http://schemas.microsoft.com/office/drawing/2014/main" id="{D149CB07-F6BF-4679-A605-14B50F998429}"/>
                  </a:ext>
                </a:extLst>
              </p:cNvPr>
              <p:cNvSpPr/>
              <p:nvPr/>
            </p:nvSpPr>
            <p:spPr>
              <a:xfrm>
                <a:off x="3606450" y="2301875"/>
                <a:ext cx="6275" cy="6850"/>
              </a:xfrm>
              <a:custGeom>
                <a:avLst/>
                <a:gdLst/>
                <a:ahLst/>
                <a:cxnLst/>
                <a:rect l="l" t="t" r="r" b="b"/>
                <a:pathLst>
                  <a:path w="251" h="274" extrusionOk="0">
                    <a:moveTo>
                      <a:pt x="137" y="1"/>
                    </a:moveTo>
                    <a:cubicBezTo>
                      <a:pt x="46" y="1"/>
                      <a:pt x="0" y="69"/>
                      <a:pt x="0" y="137"/>
                    </a:cubicBezTo>
                    <a:cubicBezTo>
                      <a:pt x="0" y="206"/>
                      <a:pt x="46" y="274"/>
                      <a:pt x="137" y="274"/>
                    </a:cubicBezTo>
                    <a:cubicBezTo>
                      <a:pt x="205" y="274"/>
                      <a:pt x="251" y="206"/>
                      <a:pt x="251" y="137"/>
                    </a:cubicBezTo>
                    <a:cubicBezTo>
                      <a:pt x="251" y="69"/>
                      <a:pt x="205" y="1"/>
                      <a:pt x="137" y="1"/>
                    </a:cubicBezTo>
                    <a:close/>
                  </a:path>
                </a:pathLst>
              </a:custGeom>
              <a:solidFill>
                <a:srgbClr val="7D7E7D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7" name="Google Shape;950;p81">
                <a:extLst>
                  <a:ext uri="{FF2B5EF4-FFF2-40B4-BE49-F238E27FC236}">
                    <a16:creationId xmlns:a16="http://schemas.microsoft.com/office/drawing/2014/main" id="{CA46108A-5BE5-4BF4-85B0-BBF7B0173C7F}"/>
                  </a:ext>
                </a:extLst>
              </p:cNvPr>
              <p:cNvSpPr/>
              <p:nvPr/>
            </p:nvSpPr>
            <p:spPr>
              <a:xfrm>
                <a:off x="3346650" y="2621375"/>
                <a:ext cx="527025" cy="51775"/>
              </a:xfrm>
              <a:custGeom>
                <a:avLst/>
                <a:gdLst/>
                <a:ahLst/>
                <a:cxnLst/>
                <a:rect l="l" t="t" r="r" b="b"/>
                <a:pathLst>
                  <a:path w="21081" h="2071" extrusionOk="0">
                    <a:moveTo>
                      <a:pt x="1160" y="1"/>
                    </a:moveTo>
                    <a:lnTo>
                      <a:pt x="0" y="2070"/>
                    </a:lnTo>
                    <a:lnTo>
                      <a:pt x="21080" y="2070"/>
                    </a:lnTo>
                    <a:lnTo>
                      <a:pt x="19920" y="1"/>
                    </a:lnTo>
                    <a:close/>
                  </a:path>
                </a:pathLst>
              </a:custGeom>
              <a:solidFill>
                <a:srgbClr val="7D7E7D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58" name="Google Shape;951;p81">
                <a:extLst>
                  <a:ext uri="{FF2B5EF4-FFF2-40B4-BE49-F238E27FC236}">
                    <a16:creationId xmlns:a16="http://schemas.microsoft.com/office/drawing/2014/main" id="{D757A5E3-5E33-4A75-A7A7-2E9A2CDE191F}"/>
                  </a:ext>
                </a:extLst>
              </p:cNvPr>
              <p:cNvSpPr/>
              <p:nvPr/>
            </p:nvSpPr>
            <p:spPr>
              <a:xfrm>
                <a:off x="3325050" y="2683350"/>
                <a:ext cx="57307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22923" h="1" fill="none" extrusionOk="0">
                    <a:moveTo>
                      <a:pt x="0" y="0"/>
                    </a:moveTo>
                    <a:lnTo>
                      <a:pt x="22922" y="0"/>
                    </a:lnTo>
                  </a:path>
                </a:pathLst>
              </a:custGeom>
              <a:noFill/>
              <a:ln w="9525" cap="rnd" cmpd="sng">
                <a:solidFill>
                  <a:srgbClr val="4B4D4E"/>
                </a:solidFill>
                <a:prstDash val="solid"/>
                <a:miter lim="22739"/>
                <a:headEnd type="none" w="sm" len="sm"/>
                <a:tailEnd type="none" w="sm" len="sm"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grpSp>
        <p:nvGrpSpPr>
          <p:cNvPr id="169" name="Google Shape;912;p81">
            <a:extLst>
              <a:ext uri="{FF2B5EF4-FFF2-40B4-BE49-F238E27FC236}">
                <a16:creationId xmlns:a16="http://schemas.microsoft.com/office/drawing/2014/main" id="{5843590D-891A-4271-B8EF-4FC07F04721E}"/>
              </a:ext>
            </a:extLst>
          </p:cNvPr>
          <p:cNvGrpSpPr/>
          <p:nvPr/>
        </p:nvGrpSpPr>
        <p:grpSpPr>
          <a:xfrm>
            <a:off x="488867" y="5386986"/>
            <a:ext cx="318003" cy="228094"/>
            <a:chOff x="3303450" y="2292225"/>
            <a:chExt cx="612850" cy="416725"/>
          </a:xfrm>
        </p:grpSpPr>
        <p:sp>
          <p:nvSpPr>
            <p:cNvPr id="170" name="Google Shape;913;p81">
              <a:extLst>
                <a:ext uri="{FF2B5EF4-FFF2-40B4-BE49-F238E27FC236}">
                  <a16:creationId xmlns:a16="http://schemas.microsoft.com/office/drawing/2014/main" id="{E131012A-5FF9-4D25-A058-637032F55917}"/>
                </a:ext>
              </a:extLst>
            </p:cNvPr>
            <p:cNvSpPr/>
            <p:nvPr/>
          </p:nvSpPr>
          <p:spPr>
            <a:xfrm>
              <a:off x="3303450" y="2601050"/>
              <a:ext cx="117125" cy="98250"/>
            </a:xfrm>
            <a:custGeom>
              <a:avLst/>
              <a:gdLst/>
              <a:ahLst/>
              <a:cxnLst/>
              <a:rect l="l" t="t" r="r" b="b"/>
              <a:pathLst>
                <a:path w="4685" h="3930" extrusionOk="0">
                  <a:moveTo>
                    <a:pt x="2351" y="1"/>
                  </a:moveTo>
                  <a:cubicBezTo>
                    <a:pt x="2172" y="1"/>
                    <a:pt x="1990" y="120"/>
                    <a:pt x="1842" y="359"/>
                  </a:cubicBezTo>
                  <a:lnTo>
                    <a:pt x="273" y="3065"/>
                  </a:lnTo>
                  <a:cubicBezTo>
                    <a:pt x="0" y="3543"/>
                    <a:pt x="227" y="3929"/>
                    <a:pt x="773" y="3929"/>
                  </a:cubicBezTo>
                  <a:lnTo>
                    <a:pt x="3911" y="3929"/>
                  </a:lnTo>
                  <a:cubicBezTo>
                    <a:pt x="4457" y="3929"/>
                    <a:pt x="4684" y="3543"/>
                    <a:pt x="4412" y="3065"/>
                  </a:cubicBezTo>
                  <a:lnTo>
                    <a:pt x="2843" y="359"/>
                  </a:lnTo>
                  <a:cubicBezTo>
                    <a:pt x="2706" y="120"/>
                    <a:pt x="2530" y="1"/>
                    <a:pt x="2351" y="1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1" name="Google Shape;914;p81">
              <a:extLst>
                <a:ext uri="{FF2B5EF4-FFF2-40B4-BE49-F238E27FC236}">
                  <a16:creationId xmlns:a16="http://schemas.microsoft.com/office/drawing/2014/main" id="{C6C50C0C-493D-4E68-9A9C-9561ACC3B5AF}"/>
                </a:ext>
              </a:extLst>
            </p:cNvPr>
            <p:cNvSpPr/>
            <p:nvPr/>
          </p:nvSpPr>
          <p:spPr>
            <a:xfrm>
              <a:off x="3799175" y="2601050"/>
              <a:ext cx="117125" cy="98250"/>
            </a:xfrm>
            <a:custGeom>
              <a:avLst/>
              <a:gdLst/>
              <a:ahLst/>
              <a:cxnLst/>
              <a:rect l="l" t="t" r="r" b="b"/>
              <a:pathLst>
                <a:path w="4685" h="3930" extrusionOk="0">
                  <a:moveTo>
                    <a:pt x="2351" y="1"/>
                  </a:moveTo>
                  <a:cubicBezTo>
                    <a:pt x="2172" y="1"/>
                    <a:pt x="1990" y="120"/>
                    <a:pt x="1842" y="359"/>
                  </a:cubicBezTo>
                  <a:lnTo>
                    <a:pt x="273" y="3065"/>
                  </a:lnTo>
                  <a:cubicBezTo>
                    <a:pt x="0" y="3543"/>
                    <a:pt x="228" y="3929"/>
                    <a:pt x="773" y="3929"/>
                  </a:cubicBezTo>
                  <a:lnTo>
                    <a:pt x="3912" y="3929"/>
                  </a:lnTo>
                  <a:cubicBezTo>
                    <a:pt x="4457" y="3929"/>
                    <a:pt x="4685" y="3543"/>
                    <a:pt x="4412" y="3065"/>
                  </a:cubicBezTo>
                  <a:lnTo>
                    <a:pt x="2843" y="359"/>
                  </a:lnTo>
                  <a:cubicBezTo>
                    <a:pt x="2706" y="120"/>
                    <a:pt x="2530" y="1"/>
                    <a:pt x="2351" y="1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2" name="Google Shape;915;p81">
              <a:extLst>
                <a:ext uri="{FF2B5EF4-FFF2-40B4-BE49-F238E27FC236}">
                  <a16:creationId xmlns:a16="http://schemas.microsoft.com/office/drawing/2014/main" id="{81D52409-FBE4-47D5-9102-135C23876917}"/>
                </a:ext>
              </a:extLst>
            </p:cNvPr>
            <p:cNvSpPr/>
            <p:nvPr/>
          </p:nvSpPr>
          <p:spPr>
            <a:xfrm>
              <a:off x="3345500" y="2292225"/>
              <a:ext cx="528175" cy="343950"/>
            </a:xfrm>
            <a:custGeom>
              <a:avLst/>
              <a:gdLst/>
              <a:ahLst/>
              <a:cxnLst/>
              <a:rect l="l" t="t" r="r" b="b"/>
              <a:pathLst>
                <a:path w="21127" h="13758" extrusionOk="0">
                  <a:moveTo>
                    <a:pt x="1001" y="0"/>
                  </a:moveTo>
                  <a:cubicBezTo>
                    <a:pt x="456" y="0"/>
                    <a:pt x="1" y="455"/>
                    <a:pt x="1" y="1001"/>
                  </a:cubicBezTo>
                  <a:lnTo>
                    <a:pt x="1" y="12780"/>
                  </a:lnTo>
                  <a:cubicBezTo>
                    <a:pt x="1" y="13326"/>
                    <a:pt x="456" y="13758"/>
                    <a:pt x="1001" y="13758"/>
                  </a:cubicBezTo>
                  <a:lnTo>
                    <a:pt x="20126" y="13758"/>
                  </a:lnTo>
                  <a:cubicBezTo>
                    <a:pt x="20671" y="13758"/>
                    <a:pt x="21126" y="13326"/>
                    <a:pt x="21126" y="12780"/>
                  </a:cubicBezTo>
                  <a:lnTo>
                    <a:pt x="21126" y="1001"/>
                  </a:lnTo>
                  <a:cubicBezTo>
                    <a:pt x="21126" y="455"/>
                    <a:pt x="20671" y="0"/>
                    <a:pt x="20126" y="0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3" name="Google Shape;916;p81">
              <a:extLst>
                <a:ext uri="{FF2B5EF4-FFF2-40B4-BE49-F238E27FC236}">
                  <a16:creationId xmlns:a16="http://schemas.microsoft.com/office/drawing/2014/main" id="{BD23310A-A3D5-4FCF-B3C8-228854E423EB}"/>
                </a:ext>
              </a:extLst>
            </p:cNvPr>
            <p:cNvSpPr/>
            <p:nvPr/>
          </p:nvSpPr>
          <p:spPr>
            <a:xfrm>
              <a:off x="3345500" y="2615125"/>
              <a:ext cx="528175" cy="84175"/>
            </a:xfrm>
            <a:custGeom>
              <a:avLst/>
              <a:gdLst/>
              <a:ahLst/>
              <a:cxnLst/>
              <a:rect l="l" t="t" r="r" b="b"/>
              <a:pathLst>
                <a:path w="21127" h="3367" extrusionOk="0">
                  <a:moveTo>
                    <a:pt x="1001" y="1"/>
                  </a:moveTo>
                  <a:cubicBezTo>
                    <a:pt x="456" y="1"/>
                    <a:pt x="1" y="433"/>
                    <a:pt x="1" y="978"/>
                  </a:cubicBezTo>
                  <a:lnTo>
                    <a:pt x="1" y="2388"/>
                  </a:lnTo>
                  <a:cubicBezTo>
                    <a:pt x="1" y="2934"/>
                    <a:pt x="456" y="3366"/>
                    <a:pt x="1001" y="3366"/>
                  </a:cubicBezTo>
                  <a:lnTo>
                    <a:pt x="20126" y="3366"/>
                  </a:lnTo>
                  <a:cubicBezTo>
                    <a:pt x="20671" y="3366"/>
                    <a:pt x="21126" y="2934"/>
                    <a:pt x="21126" y="2388"/>
                  </a:cubicBezTo>
                  <a:lnTo>
                    <a:pt x="21126" y="978"/>
                  </a:lnTo>
                  <a:cubicBezTo>
                    <a:pt x="21126" y="433"/>
                    <a:pt x="20671" y="1"/>
                    <a:pt x="20126" y="1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4" name="Google Shape;917;p81">
              <a:extLst>
                <a:ext uri="{FF2B5EF4-FFF2-40B4-BE49-F238E27FC236}">
                  <a16:creationId xmlns:a16="http://schemas.microsoft.com/office/drawing/2014/main" id="{3CB1F887-6C25-49DE-91AA-BC11BFC57C29}"/>
                </a:ext>
              </a:extLst>
            </p:cNvPr>
            <p:cNvSpPr/>
            <p:nvPr/>
          </p:nvSpPr>
          <p:spPr>
            <a:xfrm>
              <a:off x="3306850" y="2676475"/>
              <a:ext cx="605475" cy="32475"/>
            </a:xfrm>
            <a:custGeom>
              <a:avLst/>
              <a:gdLst/>
              <a:ahLst/>
              <a:cxnLst/>
              <a:rect l="l" t="t" r="r" b="b"/>
              <a:pathLst>
                <a:path w="24219" h="1299" extrusionOk="0">
                  <a:moveTo>
                    <a:pt x="443" y="1"/>
                  </a:moveTo>
                  <a:cubicBezTo>
                    <a:pt x="207" y="1"/>
                    <a:pt x="2" y="219"/>
                    <a:pt x="23" y="457"/>
                  </a:cubicBezTo>
                  <a:lnTo>
                    <a:pt x="23" y="821"/>
                  </a:lnTo>
                  <a:cubicBezTo>
                    <a:pt x="0" y="1071"/>
                    <a:pt x="228" y="1299"/>
                    <a:pt x="478" y="1299"/>
                  </a:cubicBezTo>
                  <a:lnTo>
                    <a:pt x="23764" y="1299"/>
                  </a:lnTo>
                  <a:cubicBezTo>
                    <a:pt x="24014" y="1299"/>
                    <a:pt x="24219" y="1071"/>
                    <a:pt x="24219" y="821"/>
                  </a:cubicBezTo>
                  <a:lnTo>
                    <a:pt x="24219" y="457"/>
                  </a:lnTo>
                  <a:cubicBezTo>
                    <a:pt x="24219" y="207"/>
                    <a:pt x="24014" y="2"/>
                    <a:pt x="23764" y="2"/>
                  </a:cubicBezTo>
                  <a:lnTo>
                    <a:pt x="478" y="2"/>
                  </a:lnTo>
                  <a:cubicBezTo>
                    <a:pt x="466" y="1"/>
                    <a:pt x="455" y="1"/>
                    <a:pt x="443" y="1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5" name="Google Shape;918;p81">
              <a:extLst>
                <a:ext uri="{FF2B5EF4-FFF2-40B4-BE49-F238E27FC236}">
                  <a16:creationId xmlns:a16="http://schemas.microsoft.com/office/drawing/2014/main" id="{2E6C8249-71BC-496F-B8D2-0640E9728319}"/>
                </a:ext>
              </a:extLst>
            </p:cNvPr>
            <p:cNvSpPr/>
            <p:nvPr/>
          </p:nvSpPr>
          <p:spPr>
            <a:xfrm>
              <a:off x="3369375" y="2317225"/>
              <a:ext cx="480975" cy="279175"/>
            </a:xfrm>
            <a:custGeom>
              <a:avLst/>
              <a:gdLst/>
              <a:ahLst/>
              <a:cxnLst/>
              <a:rect l="l" t="t" r="r" b="b"/>
              <a:pathLst>
                <a:path w="19239" h="11167" extrusionOk="0">
                  <a:moveTo>
                    <a:pt x="1" y="1"/>
                  </a:moveTo>
                  <a:lnTo>
                    <a:pt x="1" y="11166"/>
                  </a:lnTo>
                  <a:lnTo>
                    <a:pt x="19239" y="11166"/>
                  </a:lnTo>
                  <a:lnTo>
                    <a:pt x="1923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6" name="Google Shape;919;p81">
              <a:extLst>
                <a:ext uri="{FF2B5EF4-FFF2-40B4-BE49-F238E27FC236}">
                  <a16:creationId xmlns:a16="http://schemas.microsoft.com/office/drawing/2014/main" id="{306DE4FC-B3FA-46E6-9310-04A7CE586451}"/>
                </a:ext>
              </a:extLst>
            </p:cNvPr>
            <p:cNvSpPr/>
            <p:nvPr/>
          </p:nvSpPr>
          <p:spPr>
            <a:xfrm>
              <a:off x="3606450" y="2301875"/>
              <a:ext cx="6275" cy="6850"/>
            </a:xfrm>
            <a:custGeom>
              <a:avLst/>
              <a:gdLst/>
              <a:ahLst/>
              <a:cxnLst/>
              <a:rect l="l" t="t" r="r" b="b"/>
              <a:pathLst>
                <a:path w="251" h="274" extrusionOk="0">
                  <a:moveTo>
                    <a:pt x="137" y="1"/>
                  </a:moveTo>
                  <a:cubicBezTo>
                    <a:pt x="46" y="1"/>
                    <a:pt x="0" y="69"/>
                    <a:pt x="0" y="137"/>
                  </a:cubicBezTo>
                  <a:cubicBezTo>
                    <a:pt x="0" y="206"/>
                    <a:pt x="46" y="274"/>
                    <a:pt x="137" y="274"/>
                  </a:cubicBezTo>
                  <a:cubicBezTo>
                    <a:pt x="205" y="274"/>
                    <a:pt x="251" y="206"/>
                    <a:pt x="251" y="137"/>
                  </a:cubicBezTo>
                  <a:cubicBezTo>
                    <a:pt x="251" y="69"/>
                    <a:pt x="205" y="1"/>
                    <a:pt x="137" y="1"/>
                  </a:cubicBezTo>
                  <a:close/>
                </a:path>
              </a:pathLst>
            </a:custGeom>
            <a:solidFill>
              <a:srgbClr val="7D7E7D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7" name="Google Shape;920;p81">
              <a:extLst>
                <a:ext uri="{FF2B5EF4-FFF2-40B4-BE49-F238E27FC236}">
                  <a16:creationId xmlns:a16="http://schemas.microsoft.com/office/drawing/2014/main" id="{C2C583D5-308C-4A6B-8541-174EF49007E3}"/>
                </a:ext>
              </a:extLst>
            </p:cNvPr>
            <p:cNvSpPr/>
            <p:nvPr/>
          </p:nvSpPr>
          <p:spPr>
            <a:xfrm>
              <a:off x="3346650" y="2621375"/>
              <a:ext cx="527025" cy="51775"/>
            </a:xfrm>
            <a:custGeom>
              <a:avLst/>
              <a:gdLst/>
              <a:ahLst/>
              <a:cxnLst/>
              <a:rect l="l" t="t" r="r" b="b"/>
              <a:pathLst>
                <a:path w="21081" h="2071" extrusionOk="0">
                  <a:moveTo>
                    <a:pt x="1160" y="1"/>
                  </a:moveTo>
                  <a:lnTo>
                    <a:pt x="0" y="2070"/>
                  </a:lnTo>
                  <a:lnTo>
                    <a:pt x="21080" y="2070"/>
                  </a:lnTo>
                  <a:lnTo>
                    <a:pt x="19920" y="1"/>
                  </a:lnTo>
                  <a:close/>
                </a:path>
              </a:pathLst>
            </a:custGeom>
            <a:solidFill>
              <a:srgbClr val="7D7E7D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78" name="Google Shape;921;p81">
              <a:extLst>
                <a:ext uri="{FF2B5EF4-FFF2-40B4-BE49-F238E27FC236}">
                  <a16:creationId xmlns:a16="http://schemas.microsoft.com/office/drawing/2014/main" id="{31FDA3C7-0193-4B3A-B4BE-EE0EFF530713}"/>
                </a:ext>
              </a:extLst>
            </p:cNvPr>
            <p:cNvSpPr/>
            <p:nvPr/>
          </p:nvSpPr>
          <p:spPr>
            <a:xfrm>
              <a:off x="3325050" y="2683350"/>
              <a:ext cx="573075" cy="25"/>
            </a:xfrm>
            <a:custGeom>
              <a:avLst/>
              <a:gdLst/>
              <a:ahLst/>
              <a:cxnLst/>
              <a:rect l="l" t="t" r="r" b="b"/>
              <a:pathLst>
                <a:path w="22923" h="1" fill="none" extrusionOk="0">
                  <a:moveTo>
                    <a:pt x="0" y="0"/>
                  </a:moveTo>
                  <a:lnTo>
                    <a:pt x="22922" y="0"/>
                  </a:lnTo>
                </a:path>
              </a:pathLst>
            </a:custGeom>
            <a:noFill/>
            <a:ln w="9525" cap="rnd" cmpd="sng">
              <a:solidFill>
                <a:srgbClr val="4B4D4E"/>
              </a:solidFill>
              <a:prstDash val="solid"/>
              <a:miter lim="22739"/>
              <a:headEnd type="none" w="sm" len="sm"/>
              <a:tailEnd type="none" w="sm" len="sm"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79" name="Google Shape;912;p81">
            <a:extLst>
              <a:ext uri="{FF2B5EF4-FFF2-40B4-BE49-F238E27FC236}">
                <a16:creationId xmlns:a16="http://schemas.microsoft.com/office/drawing/2014/main" id="{EF1498CA-43A9-4169-9841-81A8D7237FE3}"/>
              </a:ext>
            </a:extLst>
          </p:cNvPr>
          <p:cNvGrpSpPr/>
          <p:nvPr/>
        </p:nvGrpSpPr>
        <p:grpSpPr>
          <a:xfrm>
            <a:off x="4348294" y="5407486"/>
            <a:ext cx="318003" cy="228094"/>
            <a:chOff x="3303450" y="2292225"/>
            <a:chExt cx="612850" cy="416725"/>
          </a:xfrm>
        </p:grpSpPr>
        <p:sp>
          <p:nvSpPr>
            <p:cNvPr id="180" name="Google Shape;913;p81">
              <a:extLst>
                <a:ext uri="{FF2B5EF4-FFF2-40B4-BE49-F238E27FC236}">
                  <a16:creationId xmlns:a16="http://schemas.microsoft.com/office/drawing/2014/main" id="{DCE1F9C9-6CF1-43B6-B591-49E4D22E032F}"/>
                </a:ext>
              </a:extLst>
            </p:cNvPr>
            <p:cNvSpPr/>
            <p:nvPr/>
          </p:nvSpPr>
          <p:spPr>
            <a:xfrm>
              <a:off x="3303450" y="2601050"/>
              <a:ext cx="117125" cy="98250"/>
            </a:xfrm>
            <a:custGeom>
              <a:avLst/>
              <a:gdLst/>
              <a:ahLst/>
              <a:cxnLst/>
              <a:rect l="l" t="t" r="r" b="b"/>
              <a:pathLst>
                <a:path w="4685" h="3930" extrusionOk="0">
                  <a:moveTo>
                    <a:pt x="2351" y="1"/>
                  </a:moveTo>
                  <a:cubicBezTo>
                    <a:pt x="2172" y="1"/>
                    <a:pt x="1990" y="120"/>
                    <a:pt x="1842" y="359"/>
                  </a:cubicBezTo>
                  <a:lnTo>
                    <a:pt x="273" y="3065"/>
                  </a:lnTo>
                  <a:cubicBezTo>
                    <a:pt x="0" y="3543"/>
                    <a:pt x="227" y="3929"/>
                    <a:pt x="773" y="3929"/>
                  </a:cubicBezTo>
                  <a:lnTo>
                    <a:pt x="3911" y="3929"/>
                  </a:lnTo>
                  <a:cubicBezTo>
                    <a:pt x="4457" y="3929"/>
                    <a:pt x="4684" y="3543"/>
                    <a:pt x="4412" y="3065"/>
                  </a:cubicBezTo>
                  <a:lnTo>
                    <a:pt x="2843" y="359"/>
                  </a:lnTo>
                  <a:cubicBezTo>
                    <a:pt x="2706" y="120"/>
                    <a:pt x="2530" y="1"/>
                    <a:pt x="2351" y="1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1" name="Google Shape;914;p81">
              <a:extLst>
                <a:ext uri="{FF2B5EF4-FFF2-40B4-BE49-F238E27FC236}">
                  <a16:creationId xmlns:a16="http://schemas.microsoft.com/office/drawing/2014/main" id="{207FA36B-EA0D-4F8C-B87D-843124DC2428}"/>
                </a:ext>
              </a:extLst>
            </p:cNvPr>
            <p:cNvSpPr/>
            <p:nvPr/>
          </p:nvSpPr>
          <p:spPr>
            <a:xfrm>
              <a:off x="3799175" y="2601050"/>
              <a:ext cx="117125" cy="98250"/>
            </a:xfrm>
            <a:custGeom>
              <a:avLst/>
              <a:gdLst/>
              <a:ahLst/>
              <a:cxnLst/>
              <a:rect l="l" t="t" r="r" b="b"/>
              <a:pathLst>
                <a:path w="4685" h="3930" extrusionOk="0">
                  <a:moveTo>
                    <a:pt x="2351" y="1"/>
                  </a:moveTo>
                  <a:cubicBezTo>
                    <a:pt x="2172" y="1"/>
                    <a:pt x="1990" y="120"/>
                    <a:pt x="1842" y="359"/>
                  </a:cubicBezTo>
                  <a:lnTo>
                    <a:pt x="273" y="3065"/>
                  </a:lnTo>
                  <a:cubicBezTo>
                    <a:pt x="0" y="3543"/>
                    <a:pt x="228" y="3929"/>
                    <a:pt x="773" y="3929"/>
                  </a:cubicBezTo>
                  <a:lnTo>
                    <a:pt x="3912" y="3929"/>
                  </a:lnTo>
                  <a:cubicBezTo>
                    <a:pt x="4457" y="3929"/>
                    <a:pt x="4685" y="3543"/>
                    <a:pt x="4412" y="3065"/>
                  </a:cubicBezTo>
                  <a:lnTo>
                    <a:pt x="2843" y="359"/>
                  </a:lnTo>
                  <a:cubicBezTo>
                    <a:pt x="2706" y="120"/>
                    <a:pt x="2530" y="1"/>
                    <a:pt x="2351" y="1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2" name="Google Shape;915;p81">
              <a:extLst>
                <a:ext uri="{FF2B5EF4-FFF2-40B4-BE49-F238E27FC236}">
                  <a16:creationId xmlns:a16="http://schemas.microsoft.com/office/drawing/2014/main" id="{E3C171AC-4455-4A2C-8ACB-7147AA2B33D9}"/>
                </a:ext>
              </a:extLst>
            </p:cNvPr>
            <p:cNvSpPr/>
            <p:nvPr/>
          </p:nvSpPr>
          <p:spPr>
            <a:xfrm>
              <a:off x="3345500" y="2292225"/>
              <a:ext cx="528175" cy="343950"/>
            </a:xfrm>
            <a:custGeom>
              <a:avLst/>
              <a:gdLst/>
              <a:ahLst/>
              <a:cxnLst/>
              <a:rect l="l" t="t" r="r" b="b"/>
              <a:pathLst>
                <a:path w="21127" h="13758" extrusionOk="0">
                  <a:moveTo>
                    <a:pt x="1001" y="0"/>
                  </a:moveTo>
                  <a:cubicBezTo>
                    <a:pt x="456" y="0"/>
                    <a:pt x="1" y="455"/>
                    <a:pt x="1" y="1001"/>
                  </a:cubicBezTo>
                  <a:lnTo>
                    <a:pt x="1" y="12780"/>
                  </a:lnTo>
                  <a:cubicBezTo>
                    <a:pt x="1" y="13326"/>
                    <a:pt x="456" y="13758"/>
                    <a:pt x="1001" y="13758"/>
                  </a:cubicBezTo>
                  <a:lnTo>
                    <a:pt x="20126" y="13758"/>
                  </a:lnTo>
                  <a:cubicBezTo>
                    <a:pt x="20671" y="13758"/>
                    <a:pt x="21126" y="13326"/>
                    <a:pt x="21126" y="12780"/>
                  </a:cubicBezTo>
                  <a:lnTo>
                    <a:pt x="21126" y="1001"/>
                  </a:lnTo>
                  <a:cubicBezTo>
                    <a:pt x="21126" y="455"/>
                    <a:pt x="20671" y="0"/>
                    <a:pt x="20126" y="0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3" name="Google Shape;916;p81">
              <a:extLst>
                <a:ext uri="{FF2B5EF4-FFF2-40B4-BE49-F238E27FC236}">
                  <a16:creationId xmlns:a16="http://schemas.microsoft.com/office/drawing/2014/main" id="{DD14F0C6-9499-45F0-8CD6-FCC43C8AE330}"/>
                </a:ext>
              </a:extLst>
            </p:cNvPr>
            <p:cNvSpPr/>
            <p:nvPr/>
          </p:nvSpPr>
          <p:spPr>
            <a:xfrm>
              <a:off x="3345500" y="2615125"/>
              <a:ext cx="528175" cy="84175"/>
            </a:xfrm>
            <a:custGeom>
              <a:avLst/>
              <a:gdLst/>
              <a:ahLst/>
              <a:cxnLst/>
              <a:rect l="l" t="t" r="r" b="b"/>
              <a:pathLst>
                <a:path w="21127" h="3367" extrusionOk="0">
                  <a:moveTo>
                    <a:pt x="1001" y="1"/>
                  </a:moveTo>
                  <a:cubicBezTo>
                    <a:pt x="456" y="1"/>
                    <a:pt x="1" y="433"/>
                    <a:pt x="1" y="978"/>
                  </a:cubicBezTo>
                  <a:lnTo>
                    <a:pt x="1" y="2388"/>
                  </a:lnTo>
                  <a:cubicBezTo>
                    <a:pt x="1" y="2934"/>
                    <a:pt x="456" y="3366"/>
                    <a:pt x="1001" y="3366"/>
                  </a:cubicBezTo>
                  <a:lnTo>
                    <a:pt x="20126" y="3366"/>
                  </a:lnTo>
                  <a:cubicBezTo>
                    <a:pt x="20671" y="3366"/>
                    <a:pt x="21126" y="2934"/>
                    <a:pt x="21126" y="2388"/>
                  </a:cubicBezTo>
                  <a:lnTo>
                    <a:pt x="21126" y="978"/>
                  </a:lnTo>
                  <a:cubicBezTo>
                    <a:pt x="21126" y="433"/>
                    <a:pt x="20671" y="1"/>
                    <a:pt x="20126" y="1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4" name="Google Shape;917;p81">
              <a:extLst>
                <a:ext uri="{FF2B5EF4-FFF2-40B4-BE49-F238E27FC236}">
                  <a16:creationId xmlns:a16="http://schemas.microsoft.com/office/drawing/2014/main" id="{A2994315-E354-40AC-BBB3-08336DA8EFCE}"/>
                </a:ext>
              </a:extLst>
            </p:cNvPr>
            <p:cNvSpPr/>
            <p:nvPr/>
          </p:nvSpPr>
          <p:spPr>
            <a:xfrm>
              <a:off x="3306850" y="2676475"/>
              <a:ext cx="605475" cy="32475"/>
            </a:xfrm>
            <a:custGeom>
              <a:avLst/>
              <a:gdLst/>
              <a:ahLst/>
              <a:cxnLst/>
              <a:rect l="l" t="t" r="r" b="b"/>
              <a:pathLst>
                <a:path w="24219" h="1299" extrusionOk="0">
                  <a:moveTo>
                    <a:pt x="443" y="1"/>
                  </a:moveTo>
                  <a:cubicBezTo>
                    <a:pt x="207" y="1"/>
                    <a:pt x="2" y="219"/>
                    <a:pt x="23" y="457"/>
                  </a:cubicBezTo>
                  <a:lnTo>
                    <a:pt x="23" y="821"/>
                  </a:lnTo>
                  <a:cubicBezTo>
                    <a:pt x="0" y="1071"/>
                    <a:pt x="228" y="1299"/>
                    <a:pt x="478" y="1299"/>
                  </a:cubicBezTo>
                  <a:lnTo>
                    <a:pt x="23764" y="1299"/>
                  </a:lnTo>
                  <a:cubicBezTo>
                    <a:pt x="24014" y="1299"/>
                    <a:pt x="24219" y="1071"/>
                    <a:pt x="24219" y="821"/>
                  </a:cubicBezTo>
                  <a:lnTo>
                    <a:pt x="24219" y="457"/>
                  </a:lnTo>
                  <a:cubicBezTo>
                    <a:pt x="24219" y="207"/>
                    <a:pt x="24014" y="2"/>
                    <a:pt x="23764" y="2"/>
                  </a:cubicBezTo>
                  <a:lnTo>
                    <a:pt x="478" y="2"/>
                  </a:lnTo>
                  <a:cubicBezTo>
                    <a:pt x="466" y="1"/>
                    <a:pt x="455" y="1"/>
                    <a:pt x="443" y="1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5" name="Google Shape;918;p81">
              <a:extLst>
                <a:ext uri="{FF2B5EF4-FFF2-40B4-BE49-F238E27FC236}">
                  <a16:creationId xmlns:a16="http://schemas.microsoft.com/office/drawing/2014/main" id="{0A2764B5-E730-44A9-B584-6ACE065D7601}"/>
                </a:ext>
              </a:extLst>
            </p:cNvPr>
            <p:cNvSpPr/>
            <p:nvPr/>
          </p:nvSpPr>
          <p:spPr>
            <a:xfrm>
              <a:off x="3369375" y="2317225"/>
              <a:ext cx="480975" cy="279175"/>
            </a:xfrm>
            <a:custGeom>
              <a:avLst/>
              <a:gdLst/>
              <a:ahLst/>
              <a:cxnLst/>
              <a:rect l="l" t="t" r="r" b="b"/>
              <a:pathLst>
                <a:path w="19239" h="11167" extrusionOk="0">
                  <a:moveTo>
                    <a:pt x="1" y="1"/>
                  </a:moveTo>
                  <a:lnTo>
                    <a:pt x="1" y="11166"/>
                  </a:lnTo>
                  <a:lnTo>
                    <a:pt x="19239" y="11166"/>
                  </a:lnTo>
                  <a:lnTo>
                    <a:pt x="1923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6" name="Google Shape;919;p81">
              <a:extLst>
                <a:ext uri="{FF2B5EF4-FFF2-40B4-BE49-F238E27FC236}">
                  <a16:creationId xmlns:a16="http://schemas.microsoft.com/office/drawing/2014/main" id="{3E053BD7-066D-4C79-B3CD-88DA4C47C070}"/>
                </a:ext>
              </a:extLst>
            </p:cNvPr>
            <p:cNvSpPr/>
            <p:nvPr/>
          </p:nvSpPr>
          <p:spPr>
            <a:xfrm>
              <a:off x="3606450" y="2301875"/>
              <a:ext cx="6275" cy="6850"/>
            </a:xfrm>
            <a:custGeom>
              <a:avLst/>
              <a:gdLst/>
              <a:ahLst/>
              <a:cxnLst/>
              <a:rect l="l" t="t" r="r" b="b"/>
              <a:pathLst>
                <a:path w="251" h="274" extrusionOk="0">
                  <a:moveTo>
                    <a:pt x="137" y="1"/>
                  </a:moveTo>
                  <a:cubicBezTo>
                    <a:pt x="46" y="1"/>
                    <a:pt x="0" y="69"/>
                    <a:pt x="0" y="137"/>
                  </a:cubicBezTo>
                  <a:cubicBezTo>
                    <a:pt x="0" y="206"/>
                    <a:pt x="46" y="274"/>
                    <a:pt x="137" y="274"/>
                  </a:cubicBezTo>
                  <a:cubicBezTo>
                    <a:pt x="205" y="274"/>
                    <a:pt x="251" y="206"/>
                    <a:pt x="251" y="137"/>
                  </a:cubicBezTo>
                  <a:cubicBezTo>
                    <a:pt x="251" y="69"/>
                    <a:pt x="205" y="1"/>
                    <a:pt x="137" y="1"/>
                  </a:cubicBezTo>
                  <a:close/>
                </a:path>
              </a:pathLst>
            </a:custGeom>
            <a:solidFill>
              <a:srgbClr val="7D7E7D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7" name="Google Shape;920;p81">
              <a:extLst>
                <a:ext uri="{FF2B5EF4-FFF2-40B4-BE49-F238E27FC236}">
                  <a16:creationId xmlns:a16="http://schemas.microsoft.com/office/drawing/2014/main" id="{713A0BDE-80CD-41C9-A64B-A640653A9B8E}"/>
                </a:ext>
              </a:extLst>
            </p:cNvPr>
            <p:cNvSpPr/>
            <p:nvPr/>
          </p:nvSpPr>
          <p:spPr>
            <a:xfrm>
              <a:off x="3346650" y="2621375"/>
              <a:ext cx="527025" cy="51775"/>
            </a:xfrm>
            <a:custGeom>
              <a:avLst/>
              <a:gdLst/>
              <a:ahLst/>
              <a:cxnLst/>
              <a:rect l="l" t="t" r="r" b="b"/>
              <a:pathLst>
                <a:path w="21081" h="2071" extrusionOk="0">
                  <a:moveTo>
                    <a:pt x="1160" y="1"/>
                  </a:moveTo>
                  <a:lnTo>
                    <a:pt x="0" y="2070"/>
                  </a:lnTo>
                  <a:lnTo>
                    <a:pt x="21080" y="2070"/>
                  </a:lnTo>
                  <a:lnTo>
                    <a:pt x="19920" y="1"/>
                  </a:lnTo>
                  <a:close/>
                </a:path>
              </a:pathLst>
            </a:custGeom>
            <a:solidFill>
              <a:srgbClr val="7D7E7D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8" name="Google Shape;921;p81">
              <a:extLst>
                <a:ext uri="{FF2B5EF4-FFF2-40B4-BE49-F238E27FC236}">
                  <a16:creationId xmlns:a16="http://schemas.microsoft.com/office/drawing/2014/main" id="{3AA2A61E-74FE-4E8B-B875-7AA4E2F7E8D3}"/>
                </a:ext>
              </a:extLst>
            </p:cNvPr>
            <p:cNvSpPr/>
            <p:nvPr/>
          </p:nvSpPr>
          <p:spPr>
            <a:xfrm>
              <a:off x="3325050" y="2683350"/>
              <a:ext cx="573075" cy="25"/>
            </a:xfrm>
            <a:custGeom>
              <a:avLst/>
              <a:gdLst/>
              <a:ahLst/>
              <a:cxnLst/>
              <a:rect l="l" t="t" r="r" b="b"/>
              <a:pathLst>
                <a:path w="22923" h="1" fill="none" extrusionOk="0">
                  <a:moveTo>
                    <a:pt x="0" y="0"/>
                  </a:moveTo>
                  <a:lnTo>
                    <a:pt x="22922" y="0"/>
                  </a:lnTo>
                </a:path>
              </a:pathLst>
            </a:custGeom>
            <a:noFill/>
            <a:ln w="9525" cap="rnd" cmpd="sng">
              <a:solidFill>
                <a:srgbClr val="4B4D4E"/>
              </a:solidFill>
              <a:prstDash val="solid"/>
              <a:miter lim="22739"/>
              <a:headEnd type="none" w="sm" len="sm"/>
              <a:tailEnd type="none" w="sm" len="sm"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99" name="Google Shape;902;p81">
            <a:extLst>
              <a:ext uri="{FF2B5EF4-FFF2-40B4-BE49-F238E27FC236}">
                <a16:creationId xmlns:a16="http://schemas.microsoft.com/office/drawing/2014/main" id="{1297EDD4-F050-419C-8CF6-93655F34BE4F}"/>
              </a:ext>
            </a:extLst>
          </p:cNvPr>
          <p:cNvSpPr txBox="1"/>
          <p:nvPr/>
        </p:nvSpPr>
        <p:spPr>
          <a:xfrm>
            <a:off x="-67433" y="2904443"/>
            <a:ext cx="1477961" cy="422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121595" rIns="121595" bIns="121595" anchor="t" anchorCtr="0">
            <a:noAutofit/>
          </a:bodyPr>
          <a:lstStyle/>
          <a:p>
            <a:pPr algn="ctr" defTabSz="956195">
              <a:buClr>
                <a:srgbClr val="000000"/>
              </a:buClr>
              <a:buSzPts val="1400"/>
            </a:pPr>
            <a:endParaRPr sz="1464" b="1" kern="0">
              <a:solidFill>
                <a:srgbClr val="32756D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cxnSp>
        <p:nvCxnSpPr>
          <p:cNvPr id="208" name="Google Shape;897;p81">
            <a:extLst>
              <a:ext uri="{FF2B5EF4-FFF2-40B4-BE49-F238E27FC236}">
                <a16:creationId xmlns:a16="http://schemas.microsoft.com/office/drawing/2014/main" id="{CB91A044-C4AC-4E34-A149-BE1B9134AEA3}"/>
              </a:ext>
            </a:extLst>
          </p:cNvPr>
          <p:cNvCxnSpPr>
            <a:cxnSpLocks/>
          </p:cNvCxnSpPr>
          <p:nvPr/>
        </p:nvCxnSpPr>
        <p:spPr>
          <a:xfrm>
            <a:off x="3051069" y="3868181"/>
            <a:ext cx="995379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grpSp>
        <p:nvGrpSpPr>
          <p:cNvPr id="215" name="Group 214">
            <a:extLst>
              <a:ext uri="{FF2B5EF4-FFF2-40B4-BE49-F238E27FC236}">
                <a16:creationId xmlns:a16="http://schemas.microsoft.com/office/drawing/2014/main" id="{9EC9FB4C-07CB-49C3-82DB-F443D41284F0}"/>
              </a:ext>
            </a:extLst>
          </p:cNvPr>
          <p:cNvGrpSpPr/>
          <p:nvPr/>
        </p:nvGrpSpPr>
        <p:grpSpPr>
          <a:xfrm>
            <a:off x="224091" y="3303234"/>
            <a:ext cx="974745" cy="967216"/>
            <a:chOff x="699310" y="2769294"/>
            <a:chExt cx="974745" cy="967216"/>
          </a:xfrm>
        </p:grpSpPr>
        <p:sp>
          <p:nvSpPr>
            <p:cNvPr id="216" name="Google Shape;901;p81">
              <a:extLst>
                <a:ext uri="{FF2B5EF4-FFF2-40B4-BE49-F238E27FC236}">
                  <a16:creationId xmlns:a16="http://schemas.microsoft.com/office/drawing/2014/main" id="{36EE551C-AA94-4A31-AD4C-1260C81DE964}"/>
                </a:ext>
              </a:extLst>
            </p:cNvPr>
            <p:cNvSpPr/>
            <p:nvPr/>
          </p:nvSpPr>
          <p:spPr>
            <a:xfrm>
              <a:off x="699310" y="2769294"/>
              <a:ext cx="974745" cy="967216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17" name="Google Shape;967;p81">
              <a:extLst>
                <a:ext uri="{FF2B5EF4-FFF2-40B4-BE49-F238E27FC236}">
                  <a16:creationId xmlns:a16="http://schemas.microsoft.com/office/drawing/2014/main" id="{58F83405-E0C8-4419-848D-AF02AE45F118}"/>
                </a:ext>
              </a:extLst>
            </p:cNvPr>
            <p:cNvSpPr/>
            <p:nvPr/>
          </p:nvSpPr>
          <p:spPr>
            <a:xfrm>
              <a:off x="902140" y="2905873"/>
              <a:ext cx="569123" cy="747071"/>
            </a:xfrm>
            <a:custGeom>
              <a:avLst/>
              <a:gdLst/>
              <a:ahLst/>
              <a:cxnLst/>
              <a:rect l="l" t="t" r="r" b="b"/>
              <a:pathLst>
                <a:path w="570" h="745" extrusionOk="0">
                  <a:moveTo>
                    <a:pt x="383" y="1"/>
                  </a:moveTo>
                  <a:cubicBezTo>
                    <a:pt x="357" y="1"/>
                    <a:pt x="293" y="1"/>
                    <a:pt x="238" y="40"/>
                  </a:cubicBezTo>
                  <a:cubicBezTo>
                    <a:pt x="80" y="43"/>
                    <a:pt x="56" y="119"/>
                    <a:pt x="56" y="191"/>
                  </a:cubicBezTo>
                  <a:cubicBezTo>
                    <a:pt x="56" y="212"/>
                    <a:pt x="61" y="251"/>
                    <a:pt x="64" y="272"/>
                  </a:cubicBezTo>
                  <a:cubicBezTo>
                    <a:pt x="53" y="278"/>
                    <a:pt x="43" y="283"/>
                    <a:pt x="38" y="291"/>
                  </a:cubicBezTo>
                  <a:cubicBezTo>
                    <a:pt x="27" y="299"/>
                    <a:pt x="22" y="317"/>
                    <a:pt x="24" y="333"/>
                  </a:cubicBezTo>
                  <a:lnTo>
                    <a:pt x="35" y="409"/>
                  </a:lnTo>
                  <a:cubicBezTo>
                    <a:pt x="38" y="433"/>
                    <a:pt x="56" y="452"/>
                    <a:pt x="80" y="454"/>
                  </a:cubicBezTo>
                  <a:cubicBezTo>
                    <a:pt x="88" y="507"/>
                    <a:pt x="114" y="560"/>
                    <a:pt x="148" y="599"/>
                  </a:cubicBezTo>
                  <a:lnTo>
                    <a:pt x="135" y="660"/>
                  </a:lnTo>
                  <a:lnTo>
                    <a:pt x="14" y="712"/>
                  </a:lnTo>
                  <a:cubicBezTo>
                    <a:pt x="3" y="718"/>
                    <a:pt x="1" y="726"/>
                    <a:pt x="3" y="733"/>
                  </a:cubicBezTo>
                  <a:cubicBezTo>
                    <a:pt x="9" y="742"/>
                    <a:pt x="14" y="745"/>
                    <a:pt x="20" y="745"/>
                  </a:cubicBezTo>
                  <a:cubicBezTo>
                    <a:pt x="22" y="745"/>
                    <a:pt x="25" y="745"/>
                    <a:pt x="27" y="744"/>
                  </a:cubicBezTo>
                  <a:lnTo>
                    <a:pt x="159" y="689"/>
                  </a:lnTo>
                  <a:cubicBezTo>
                    <a:pt x="167" y="689"/>
                    <a:pt x="169" y="686"/>
                    <a:pt x="169" y="678"/>
                  </a:cubicBezTo>
                  <a:lnTo>
                    <a:pt x="188" y="602"/>
                  </a:lnTo>
                  <a:cubicBezTo>
                    <a:pt x="193" y="596"/>
                    <a:pt x="188" y="589"/>
                    <a:pt x="185" y="586"/>
                  </a:cubicBezTo>
                  <a:cubicBezTo>
                    <a:pt x="146" y="549"/>
                    <a:pt x="119" y="494"/>
                    <a:pt x="117" y="441"/>
                  </a:cubicBezTo>
                  <a:cubicBezTo>
                    <a:pt x="117" y="430"/>
                    <a:pt x="109" y="425"/>
                    <a:pt x="101" y="425"/>
                  </a:cubicBezTo>
                  <a:lnTo>
                    <a:pt x="93" y="425"/>
                  </a:lnTo>
                  <a:cubicBezTo>
                    <a:pt x="82" y="425"/>
                    <a:pt x="75" y="415"/>
                    <a:pt x="75" y="404"/>
                  </a:cubicBezTo>
                  <a:lnTo>
                    <a:pt x="64" y="330"/>
                  </a:lnTo>
                  <a:cubicBezTo>
                    <a:pt x="64" y="322"/>
                    <a:pt x="67" y="317"/>
                    <a:pt x="69" y="312"/>
                  </a:cubicBezTo>
                  <a:cubicBezTo>
                    <a:pt x="75" y="309"/>
                    <a:pt x="80" y="307"/>
                    <a:pt x="88" y="307"/>
                  </a:cubicBezTo>
                  <a:lnTo>
                    <a:pt x="90" y="307"/>
                  </a:lnTo>
                  <a:cubicBezTo>
                    <a:pt x="96" y="307"/>
                    <a:pt x="101" y="304"/>
                    <a:pt x="104" y="301"/>
                  </a:cubicBezTo>
                  <a:cubicBezTo>
                    <a:pt x="106" y="296"/>
                    <a:pt x="106" y="291"/>
                    <a:pt x="106" y="285"/>
                  </a:cubicBezTo>
                  <a:cubicBezTo>
                    <a:pt x="106" y="283"/>
                    <a:pt x="96" y="214"/>
                    <a:pt x="96" y="191"/>
                  </a:cubicBezTo>
                  <a:cubicBezTo>
                    <a:pt x="96" y="127"/>
                    <a:pt x="109" y="72"/>
                    <a:pt x="251" y="72"/>
                  </a:cubicBezTo>
                  <a:cubicBezTo>
                    <a:pt x="254" y="72"/>
                    <a:pt x="259" y="72"/>
                    <a:pt x="262" y="69"/>
                  </a:cubicBezTo>
                  <a:cubicBezTo>
                    <a:pt x="304" y="38"/>
                    <a:pt x="351" y="32"/>
                    <a:pt x="391" y="32"/>
                  </a:cubicBezTo>
                  <a:cubicBezTo>
                    <a:pt x="446" y="32"/>
                    <a:pt x="483" y="51"/>
                    <a:pt x="504" y="83"/>
                  </a:cubicBezTo>
                  <a:cubicBezTo>
                    <a:pt x="530" y="122"/>
                    <a:pt x="523" y="146"/>
                    <a:pt x="509" y="159"/>
                  </a:cubicBezTo>
                  <a:lnTo>
                    <a:pt x="488" y="177"/>
                  </a:lnTo>
                  <a:cubicBezTo>
                    <a:pt x="488" y="183"/>
                    <a:pt x="486" y="185"/>
                    <a:pt x="486" y="188"/>
                  </a:cubicBezTo>
                  <a:lnTo>
                    <a:pt x="483" y="283"/>
                  </a:lnTo>
                  <a:cubicBezTo>
                    <a:pt x="483" y="291"/>
                    <a:pt x="483" y="293"/>
                    <a:pt x="486" y="296"/>
                  </a:cubicBezTo>
                  <a:cubicBezTo>
                    <a:pt x="488" y="301"/>
                    <a:pt x="496" y="304"/>
                    <a:pt x="499" y="304"/>
                  </a:cubicBezTo>
                  <a:cubicBezTo>
                    <a:pt x="504" y="304"/>
                    <a:pt x="512" y="307"/>
                    <a:pt x="515" y="309"/>
                  </a:cubicBezTo>
                  <a:cubicBezTo>
                    <a:pt x="523" y="314"/>
                    <a:pt x="523" y="320"/>
                    <a:pt x="523" y="328"/>
                  </a:cubicBezTo>
                  <a:lnTo>
                    <a:pt x="512" y="401"/>
                  </a:lnTo>
                  <a:cubicBezTo>
                    <a:pt x="512" y="412"/>
                    <a:pt x="501" y="423"/>
                    <a:pt x="488" y="423"/>
                  </a:cubicBezTo>
                  <a:cubicBezTo>
                    <a:pt x="478" y="423"/>
                    <a:pt x="472" y="428"/>
                    <a:pt x="472" y="438"/>
                  </a:cubicBezTo>
                  <a:cubicBezTo>
                    <a:pt x="470" y="494"/>
                    <a:pt x="438" y="552"/>
                    <a:pt x="399" y="586"/>
                  </a:cubicBezTo>
                  <a:cubicBezTo>
                    <a:pt x="396" y="591"/>
                    <a:pt x="396" y="596"/>
                    <a:pt x="396" y="604"/>
                  </a:cubicBezTo>
                  <a:lnTo>
                    <a:pt x="412" y="676"/>
                  </a:lnTo>
                  <a:cubicBezTo>
                    <a:pt x="412" y="678"/>
                    <a:pt x="420" y="683"/>
                    <a:pt x="422" y="686"/>
                  </a:cubicBezTo>
                  <a:lnTo>
                    <a:pt x="554" y="741"/>
                  </a:lnTo>
                  <a:lnTo>
                    <a:pt x="562" y="741"/>
                  </a:lnTo>
                  <a:cubicBezTo>
                    <a:pt x="567" y="741"/>
                    <a:pt x="570" y="739"/>
                    <a:pt x="562" y="733"/>
                  </a:cubicBezTo>
                  <a:cubicBezTo>
                    <a:pt x="565" y="726"/>
                    <a:pt x="562" y="715"/>
                    <a:pt x="552" y="712"/>
                  </a:cubicBezTo>
                  <a:lnTo>
                    <a:pt x="430" y="660"/>
                  </a:lnTo>
                  <a:lnTo>
                    <a:pt x="417" y="604"/>
                  </a:lnTo>
                  <a:cubicBezTo>
                    <a:pt x="457" y="565"/>
                    <a:pt x="483" y="512"/>
                    <a:pt x="488" y="454"/>
                  </a:cubicBezTo>
                  <a:cubicBezTo>
                    <a:pt x="507" y="449"/>
                    <a:pt x="525" y="433"/>
                    <a:pt x="528" y="409"/>
                  </a:cubicBezTo>
                  <a:lnTo>
                    <a:pt x="538" y="333"/>
                  </a:lnTo>
                  <a:cubicBezTo>
                    <a:pt x="541" y="317"/>
                    <a:pt x="536" y="304"/>
                    <a:pt x="525" y="291"/>
                  </a:cubicBezTo>
                  <a:cubicBezTo>
                    <a:pt x="517" y="283"/>
                    <a:pt x="512" y="278"/>
                    <a:pt x="501" y="272"/>
                  </a:cubicBezTo>
                  <a:lnTo>
                    <a:pt x="504" y="199"/>
                  </a:lnTo>
                  <a:lnTo>
                    <a:pt x="523" y="180"/>
                  </a:lnTo>
                  <a:cubicBezTo>
                    <a:pt x="544" y="162"/>
                    <a:pt x="562" y="122"/>
                    <a:pt x="525" y="67"/>
                  </a:cubicBezTo>
                  <a:cubicBezTo>
                    <a:pt x="499" y="22"/>
                    <a:pt x="449" y="1"/>
                    <a:pt x="383" y="1"/>
                  </a:cubicBezTo>
                  <a:close/>
                </a:path>
              </a:pathLst>
            </a:custGeom>
            <a:solidFill>
              <a:srgbClr val="24554F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18" name="Google Shape;908;p81">
            <a:extLst>
              <a:ext uri="{FF2B5EF4-FFF2-40B4-BE49-F238E27FC236}">
                <a16:creationId xmlns:a16="http://schemas.microsoft.com/office/drawing/2014/main" id="{6BF06F8A-4C2F-4F02-8B71-B7FEBF58A2FE}"/>
              </a:ext>
            </a:extLst>
          </p:cNvPr>
          <p:cNvSpPr txBox="1"/>
          <p:nvPr/>
        </p:nvSpPr>
        <p:spPr>
          <a:xfrm>
            <a:off x="9472" y="4435632"/>
            <a:ext cx="1385540" cy="3557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121595" rIns="121595" bIns="121595" anchor="ctr" anchorCtr="0">
            <a:noAutofit/>
          </a:bodyPr>
          <a:lstStyle/>
          <a:p>
            <a:pPr algn="ctr" defTabSz="956195">
              <a:buClr>
                <a:srgbClr val="000000"/>
              </a:buClr>
              <a:buSzPts val="1100"/>
            </a:pPr>
            <a:r>
              <a:rPr lang="en" sz="1150" kern="0" err="1">
                <a:solidFill>
                  <a:srgbClr val="000000"/>
                </a:solidFill>
                <a:latin typeface="Poppins"/>
                <a:ea typeface="Poppins"/>
                <a:cs typeface="Poppins"/>
              </a:rPr>
              <a:t>Forarbeid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88;p81">
            <a:extLst>
              <a:ext uri="{FF2B5EF4-FFF2-40B4-BE49-F238E27FC236}">
                <a16:creationId xmlns:a16="http://schemas.microsoft.com/office/drawing/2014/main" id="{5EBB2534-CEBC-42AB-A55D-E4E35583DA37}"/>
              </a:ext>
            </a:extLst>
          </p:cNvPr>
          <p:cNvSpPr/>
          <p:nvPr/>
        </p:nvSpPr>
        <p:spPr>
          <a:xfrm>
            <a:off x="2516542" y="1811937"/>
            <a:ext cx="9529165" cy="3749883"/>
          </a:xfrm>
          <a:prstGeom prst="rect">
            <a:avLst/>
          </a:prstGeom>
          <a:solidFill>
            <a:srgbClr val="D8E8DD"/>
          </a:solidFill>
          <a:ln>
            <a:noFill/>
          </a:ln>
        </p:spPr>
        <p:txBody>
          <a:bodyPr spcFirstLastPara="1" wrap="square" lIns="121595" tIns="121595" rIns="121595" bIns="121595" anchor="ctr" anchorCtr="0">
            <a:noAutofit/>
          </a:bodyPr>
          <a:lstStyle/>
          <a:p>
            <a:pPr defTabSz="956195">
              <a:buClr>
                <a:srgbClr val="000000"/>
              </a:buClr>
              <a:buSzPts val="1800"/>
            </a:pPr>
            <a:endParaRPr sz="1883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E8E38E6-5480-47D5-8B66-647920375B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E8E38E6-5480-47D5-8B66-647920375B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9" name="Google Shape;889;p81"/>
          <p:cNvSpPr/>
          <p:nvPr/>
        </p:nvSpPr>
        <p:spPr>
          <a:xfrm>
            <a:off x="6067201" y="2769311"/>
            <a:ext cx="974745" cy="967216"/>
          </a:xfrm>
          <a:prstGeom prst="ellipse">
            <a:avLst/>
          </a:prstGeom>
          <a:solidFill>
            <a:srgbClr val="FFFFFF"/>
          </a:solidFill>
          <a:ln w="9525" cap="flat" cmpd="sng">
            <a:solidFill>
              <a:srgbClr val="BCCCA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595" tIns="121595" rIns="121595" bIns="121595" anchor="ctr" anchorCtr="0">
            <a:noAutofit/>
          </a:bodyPr>
          <a:lstStyle/>
          <a:p>
            <a:pPr defTabSz="956195">
              <a:buClr>
                <a:srgbClr val="000000"/>
              </a:buClr>
              <a:buSzPts val="1800"/>
            </a:pPr>
            <a:endParaRPr sz="1883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1" name="Google Shape;891;p81"/>
          <p:cNvSpPr/>
          <p:nvPr/>
        </p:nvSpPr>
        <p:spPr>
          <a:xfrm>
            <a:off x="715168" y="2769294"/>
            <a:ext cx="974745" cy="967216"/>
          </a:xfrm>
          <a:prstGeom prst="ellipse">
            <a:avLst/>
          </a:prstGeom>
          <a:solidFill>
            <a:srgbClr val="FFFFFF"/>
          </a:solidFill>
          <a:ln w="9525" cap="flat" cmpd="sng">
            <a:solidFill>
              <a:srgbClr val="BCCCA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595" tIns="121595" rIns="121595" bIns="121595" anchor="ctr" anchorCtr="0">
            <a:noAutofit/>
          </a:bodyPr>
          <a:lstStyle/>
          <a:p>
            <a:pPr defTabSz="956195">
              <a:buClr>
                <a:srgbClr val="000000"/>
              </a:buClr>
              <a:buSzPts val="1800"/>
            </a:pPr>
            <a:endParaRPr sz="1883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94" name="Google Shape;894;p81"/>
          <p:cNvSpPr txBox="1"/>
          <p:nvPr/>
        </p:nvSpPr>
        <p:spPr>
          <a:xfrm>
            <a:off x="2641177" y="2154128"/>
            <a:ext cx="2375529" cy="422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121595" rIns="121595" bIns="121595" anchor="t" anchorCtr="0">
            <a:noAutofit/>
          </a:bodyPr>
          <a:lstStyle/>
          <a:p>
            <a:pPr algn="ctr" defTabSz="956195">
              <a:buClr>
                <a:srgbClr val="000000"/>
              </a:buClr>
              <a:buSzPts val="1400"/>
            </a:pPr>
            <a:r>
              <a:rPr lang="en" sz="1464" b="1" kern="0">
                <a:solidFill>
                  <a:srgbClr val="32756D"/>
                </a:solidFill>
                <a:latin typeface="Poppins"/>
                <a:ea typeface="Poppins"/>
                <a:cs typeface="Poppins"/>
                <a:sym typeface="Poppins"/>
              </a:rPr>
              <a:t>Fagspesialist lønn</a:t>
            </a:r>
            <a:endParaRPr sz="1464" b="1" kern="0">
              <a:solidFill>
                <a:srgbClr val="32756D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895" name="Google Shape;895;p81"/>
          <p:cNvSpPr txBox="1"/>
          <p:nvPr/>
        </p:nvSpPr>
        <p:spPr>
          <a:xfrm>
            <a:off x="62576" y="1937587"/>
            <a:ext cx="2321575" cy="639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121595" rIns="121595" bIns="121595" anchor="t" anchorCtr="0">
            <a:noAutofit/>
          </a:bodyPr>
          <a:lstStyle/>
          <a:p>
            <a:pPr algn="ctr" defTabSz="956195">
              <a:buClr>
                <a:srgbClr val="000000"/>
              </a:buClr>
              <a:buSzPts val="1400"/>
            </a:pPr>
            <a:r>
              <a:rPr lang="en" sz="1464" b="1" kern="0">
                <a:solidFill>
                  <a:srgbClr val="32756D"/>
                </a:solidFill>
                <a:latin typeface="Poppins"/>
                <a:ea typeface="Poppins"/>
                <a:cs typeface="Poppins"/>
                <a:sym typeface="Poppins"/>
              </a:rPr>
              <a:t>Rekrutterer/ </a:t>
            </a:r>
          </a:p>
          <a:p>
            <a:pPr algn="ctr" defTabSz="956195">
              <a:buClr>
                <a:srgbClr val="000000"/>
              </a:buClr>
              <a:buSzPts val="1400"/>
            </a:pPr>
            <a:r>
              <a:rPr lang="en" sz="1464" b="1" kern="0">
                <a:solidFill>
                  <a:srgbClr val="32756D"/>
                </a:solidFill>
                <a:latin typeface="Poppins"/>
                <a:ea typeface="Poppins"/>
                <a:cs typeface="Poppins"/>
                <a:sym typeface="Poppins"/>
              </a:rPr>
              <a:t>HR-konsulent</a:t>
            </a:r>
            <a:endParaRPr sz="1464" b="1" kern="0">
              <a:solidFill>
                <a:srgbClr val="32756D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896" name="Google Shape;896;p81"/>
          <p:cNvSpPr txBox="1"/>
          <p:nvPr/>
        </p:nvSpPr>
        <p:spPr>
          <a:xfrm>
            <a:off x="5366801" y="2154128"/>
            <a:ext cx="2375529" cy="422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121595" rIns="121595" bIns="121595" anchor="t" anchorCtr="0">
            <a:noAutofit/>
          </a:bodyPr>
          <a:lstStyle/>
          <a:p>
            <a:pPr algn="ctr" defTabSz="956195">
              <a:buClr>
                <a:srgbClr val="000000"/>
              </a:buClr>
              <a:buSzPts val="1400"/>
            </a:pPr>
            <a:r>
              <a:rPr lang="en" sz="1464" b="1" kern="0">
                <a:solidFill>
                  <a:srgbClr val="32756D"/>
                </a:solidFill>
                <a:latin typeface="Poppins"/>
                <a:ea typeface="Poppins"/>
                <a:cs typeface="Poppins"/>
                <a:sym typeface="Poppins"/>
              </a:rPr>
              <a:t>Personalgodkjenner</a:t>
            </a:r>
            <a:endParaRPr sz="1464" b="1" kern="0">
              <a:solidFill>
                <a:srgbClr val="32756D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cxnSp>
        <p:nvCxnSpPr>
          <p:cNvPr id="897" name="Google Shape;897;p81"/>
          <p:cNvCxnSpPr>
            <a:cxnSpLocks/>
            <a:stCxn id="891" idx="6"/>
          </p:cNvCxnSpPr>
          <p:nvPr/>
        </p:nvCxnSpPr>
        <p:spPr>
          <a:xfrm>
            <a:off x="1689913" y="3252903"/>
            <a:ext cx="1602332" cy="12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898" name="Google Shape;898;p81"/>
          <p:cNvSpPr/>
          <p:nvPr/>
        </p:nvSpPr>
        <p:spPr>
          <a:xfrm>
            <a:off x="8965279" y="2931259"/>
            <a:ext cx="2045491" cy="689568"/>
          </a:xfrm>
          <a:prstGeom prst="roundRect">
            <a:avLst>
              <a:gd name="adj" fmla="val 16667"/>
            </a:avLst>
          </a:prstGeom>
          <a:solidFill>
            <a:srgbClr val="EEF2F5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595" tIns="121595" rIns="121595" bIns="121595" anchor="ctr" anchorCtr="0">
            <a:noAutofit/>
          </a:bodyPr>
          <a:lstStyle/>
          <a:p>
            <a:pPr algn="ctr" defTabSz="956195">
              <a:buClr>
                <a:srgbClr val="000000"/>
              </a:buClr>
              <a:buSzPts val="1300"/>
            </a:pPr>
            <a:r>
              <a:rPr lang="en" sz="1360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Kontrakt leses inn i lønnssystemet</a:t>
            </a:r>
            <a:endParaRPr sz="1360" kern="0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cxnSp>
        <p:nvCxnSpPr>
          <p:cNvPr id="899" name="Google Shape;899;p81"/>
          <p:cNvCxnSpPr>
            <a:cxnSpLocks/>
            <a:endCxn id="889" idx="2"/>
          </p:cNvCxnSpPr>
          <p:nvPr/>
        </p:nvCxnSpPr>
        <p:spPr>
          <a:xfrm>
            <a:off x="4290491" y="3252914"/>
            <a:ext cx="1776711" cy="5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900" name="Google Shape;900;p81"/>
          <p:cNvSpPr txBox="1">
            <a:spLocks noGrp="1"/>
          </p:cNvSpPr>
          <p:nvPr>
            <p:ph type="title"/>
          </p:nvPr>
        </p:nvSpPr>
        <p:spPr>
          <a:xfrm>
            <a:off x="233892" y="501826"/>
            <a:ext cx="10515451" cy="705883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189" tIns="45595" rIns="91189" bIns="45595" rtlCol="0" anchor="ctr" anchorCtr="0">
            <a:noAutofit/>
          </a:bodyPr>
          <a:lstStyle/>
          <a:p>
            <a:r>
              <a:rPr lang="nb-NO" sz="2824">
                <a:solidFill>
                  <a:schemeClr val="tx1"/>
                </a:solidFill>
              </a:rPr>
              <a:t>Flyt for midlertidige og faste ansatte </a:t>
            </a:r>
            <a:endParaRPr sz="2824">
              <a:solidFill>
                <a:schemeClr val="tx1"/>
              </a:solidFill>
            </a:endParaRPr>
          </a:p>
        </p:txBody>
      </p:sp>
      <p:cxnSp>
        <p:nvCxnSpPr>
          <p:cNvPr id="903" name="Google Shape;903;p81"/>
          <p:cNvCxnSpPr>
            <a:cxnSpLocks/>
          </p:cNvCxnSpPr>
          <p:nvPr/>
        </p:nvCxnSpPr>
        <p:spPr>
          <a:xfrm>
            <a:off x="7073661" y="3270116"/>
            <a:ext cx="1897812" cy="9292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triangle" w="med" len="med"/>
          </a:ln>
        </p:spPr>
      </p:cxnSp>
      <p:sp>
        <p:nvSpPr>
          <p:cNvPr id="908" name="Google Shape;908;p81"/>
          <p:cNvSpPr txBox="1"/>
          <p:nvPr/>
        </p:nvSpPr>
        <p:spPr>
          <a:xfrm>
            <a:off x="162084" y="4084622"/>
            <a:ext cx="2126117" cy="5107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121595" rIns="121595" bIns="121595" anchor="ctr" anchorCtr="0">
            <a:noAutofit/>
          </a:bodyPr>
          <a:lstStyle/>
          <a:p>
            <a:pPr algn="ctr" defTabSz="956195">
              <a:buClr>
                <a:srgbClr val="000000"/>
              </a:buClr>
              <a:buSzPts val="1100"/>
            </a:pPr>
            <a:r>
              <a:rPr lang="en" sz="115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Rekrutterer via Jobbnorge og/eller</a:t>
            </a:r>
          </a:p>
          <a:p>
            <a:pPr algn="ctr" defTabSz="956195">
              <a:buClr>
                <a:srgbClr val="000000"/>
              </a:buClr>
              <a:buSzPts val="1100"/>
            </a:pPr>
            <a:r>
              <a:rPr lang="nb-NO" sz="115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lage k</a:t>
            </a:r>
            <a:r>
              <a:rPr lang="en" sz="115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ontakt i Ephorte </a:t>
            </a:r>
            <a:endParaRPr sz="1151" kern="0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909" name="Google Shape;909;p81"/>
          <p:cNvSpPr txBox="1"/>
          <p:nvPr/>
        </p:nvSpPr>
        <p:spPr>
          <a:xfrm>
            <a:off x="2805234" y="4084622"/>
            <a:ext cx="2126117" cy="5462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121595" rIns="121595" bIns="121595" anchor="ctr" anchorCtr="0">
            <a:noAutofit/>
          </a:bodyPr>
          <a:lstStyle/>
          <a:p>
            <a:pPr algn="ctr" defTabSz="956195">
              <a:buClr>
                <a:srgbClr val="000000"/>
              </a:buClr>
              <a:buSzPts val="1100"/>
            </a:pPr>
            <a:r>
              <a:rPr lang="en" sz="115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Hente kontrakt </a:t>
            </a:r>
            <a:r>
              <a:rPr lang="nb-NO" sz="115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I</a:t>
            </a:r>
            <a:r>
              <a:rPr lang="en" sz="115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 ePhorte og </a:t>
            </a:r>
          </a:p>
          <a:p>
            <a:pPr algn="ctr" defTabSz="956195">
              <a:buClr>
                <a:srgbClr val="000000"/>
              </a:buClr>
              <a:buSzPts val="1100"/>
            </a:pPr>
            <a:r>
              <a:rPr lang="en" sz="115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registre kontraksopplysninger i e-skjema </a:t>
            </a:r>
            <a:r>
              <a:rPr lang="nb-NO" sz="115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i</a:t>
            </a:r>
            <a:r>
              <a:rPr lang="en" sz="115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 SAP</a:t>
            </a:r>
            <a:endParaRPr sz="1151" kern="0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sp>
        <p:nvSpPr>
          <p:cNvPr id="910" name="Google Shape;910;p81"/>
          <p:cNvSpPr txBox="1"/>
          <p:nvPr/>
        </p:nvSpPr>
        <p:spPr>
          <a:xfrm>
            <a:off x="5491618" y="4084622"/>
            <a:ext cx="2126117" cy="2008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595" tIns="121595" rIns="121595" bIns="121595" anchor="ctr" anchorCtr="0">
            <a:noAutofit/>
          </a:bodyPr>
          <a:lstStyle/>
          <a:p>
            <a:pPr algn="ctr" defTabSz="956195">
              <a:buClr>
                <a:srgbClr val="000000"/>
              </a:buClr>
              <a:buSzPts val="1100"/>
            </a:pPr>
            <a:r>
              <a:rPr lang="en" sz="1151" kern="0">
                <a:solidFill>
                  <a:srgbClr val="000000"/>
                </a:solidFill>
                <a:latin typeface="Poppins"/>
                <a:ea typeface="Poppins"/>
                <a:cs typeface="Poppins"/>
                <a:sym typeface="Poppins"/>
              </a:rPr>
              <a:t>Kontrollerer kontrakt</a:t>
            </a:r>
            <a:endParaRPr sz="1151" kern="0">
              <a:solidFill>
                <a:srgbClr val="000000"/>
              </a:solidFill>
              <a:latin typeface="Poppins"/>
              <a:ea typeface="Poppins"/>
              <a:cs typeface="Poppins"/>
              <a:sym typeface="Poppins"/>
            </a:endParaRPr>
          </a:p>
        </p:txBody>
      </p:sp>
      <p:grpSp>
        <p:nvGrpSpPr>
          <p:cNvPr id="912" name="Google Shape;912;p81"/>
          <p:cNvGrpSpPr/>
          <p:nvPr/>
        </p:nvGrpSpPr>
        <p:grpSpPr>
          <a:xfrm>
            <a:off x="3772038" y="4885299"/>
            <a:ext cx="318003" cy="228094"/>
            <a:chOff x="3303450" y="2292225"/>
            <a:chExt cx="612850" cy="416725"/>
          </a:xfrm>
        </p:grpSpPr>
        <p:sp>
          <p:nvSpPr>
            <p:cNvPr id="913" name="Google Shape;913;p81"/>
            <p:cNvSpPr/>
            <p:nvPr/>
          </p:nvSpPr>
          <p:spPr>
            <a:xfrm>
              <a:off x="3303450" y="2601050"/>
              <a:ext cx="117125" cy="98250"/>
            </a:xfrm>
            <a:custGeom>
              <a:avLst/>
              <a:gdLst/>
              <a:ahLst/>
              <a:cxnLst/>
              <a:rect l="l" t="t" r="r" b="b"/>
              <a:pathLst>
                <a:path w="4685" h="3930" extrusionOk="0">
                  <a:moveTo>
                    <a:pt x="2351" y="1"/>
                  </a:moveTo>
                  <a:cubicBezTo>
                    <a:pt x="2172" y="1"/>
                    <a:pt x="1990" y="120"/>
                    <a:pt x="1842" y="359"/>
                  </a:cubicBezTo>
                  <a:lnTo>
                    <a:pt x="273" y="3065"/>
                  </a:lnTo>
                  <a:cubicBezTo>
                    <a:pt x="0" y="3543"/>
                    <a:pt x="227" y="3929"/>
                    <a:pt x="773" y="3929"/>
                  </a:cubicBezTo>
                  <a:lnTo>
                    <a:pt x="3911" y="3929"/>
                  </a:lnTo>
                  <a:cubicBezTo>
                    <a:pt x="4457" y="3929"/>
                    <a:pt x="4684" y="3543"/>
                    <a:pt x="4412" y="3065"/>
                  </a:cubicBezTo>
                  <a:lnTo>
                    <a:pt x="2843" y="359"/>
                  </a:lnTo>
                  <a:cubicBezTo>
                    <a:pt x="2706" y="120"/>
                    <a:pt x="2530" y="1"/>
                    <a:pt x="2351" y="1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14" name="Google Shape;914;p81"/>
            <p:cNvSpPr/>
            <p:nvPr/>
          </p:nvSpPr>
          <p:spPr>
            <a:xfrm>
              <a:off x="3799175" y="2601050"/>
              <a:ext cx="117125" cy="98250"/>
            </a:xfrm>
            <a:custGeom>
              <a:avLst/>
              <a:gdLst/>
              <a:ahLst/>
              <a:cxnLst/>
              <a:rect l="l" t="t" r="r" b="b"/>
              <a:pathLst>
                <a:path w="4685" h="3930" extrusionOk="0">
                  <a:moveTo>
                    <a:pt x="2351" y="1"/>
                  </a:moveTo>
                  <a:cubicBezTo>
                    <a:pt x="2172" y="1"/>
                    <a:pt x="1990" y="120"/>
                    <a:pt x="1842" y="359"/>
                  </a:cubicBezTo>
                  <a:lnTo>
                    <a:pt x="273" y="3065"/>
                  </a:lnTo>
                  <a:cubicBezTo>
                    <a:pt x="0" y="3543"/>
                    <a:pt x="228" y="3929"/>
                    <a:pt x="773" y="3929"/>
                  </a:cubicBezTo>
                  <a:lnTo>
                    <a:pt x="3912" y="3929"/>
                  </a:lnTo>
                  <a:cubicBezTo>
                    <a:pt x="4457" y="3929"/>
                    <a:pt x="4685" y="3543"/>
                    <a:pt x="4412" y="3065"/>
                  </a:cubicBezTo>
                  <a:lnTo>
                    <a:pt x="2843" y="359"/>
                  </a:lnTo>
                  <a:cubicBezTo>
                    <a:pt x="2706" y="120"/>
                    <a:pt x="2530" y="1"/>
                    <a:pt x="2351" y="1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15" name="Google Shape;915;p81"/>
            <p:cNvSpPr/>
            <p:nvPr/>
          </p:nvSpPr>
          <p:spPr>
            <a:xfrm>
              <a:off x="3345500" y="2292225"/>
              <a:ext cx="528175" cy="343950"/>
            </a:xfrm>
            <a:custGeom>
              <a:avLst/>
              <a:gdLst/>
              <a:ahLst/>
              <a:cxnLst/>
              <a:rect l="l" t="t" r="r" b="b"/>
              <a:pathLst>
                <a:path w="21127" h="13758" extrusionOk="0">
                  <a:moveTo>
                    <a:pt x="1001" y="0"/>
                  </a:moveTo>
                  <a:cubicBezTo>
                    <a:pt x="456" y="0"/>
                    <a:pt x="1" y="455"/>
                    <a:pt x="1" y="1001"/>
                  </a:cubicBezTo>
                  <a:lnTo>
                    <a:pt x="1" y="12780"/>
                  </a:lnTo>
                  <a:cubicBezTo>
                    <a:pt x="1" y="13326"/>
                    <a:pt x="456" y="13758"/>
                    <a:pt x="1001" y="13758"/>
                  </a:cubicBezTo>
                  <a:lnTo>
                    <a:pt x="20126" y="13758"/>
                  </a:lnTo>
                  <a:cubicBezTo>
                    <a:pt x="20671" y="13758"/>
                    <a:pt x="21126" y="13326"/>
                    <a:pt x="21126" y="12780"/>
                  </a:cubicBezTo>
                  <a:lnTo>
                    <a:pt x="21126" y="1001"/>
                  </a:lnTo>
                  <a:cubicBezTo>
                    <a:pt x="21126" y="455"/>
                    <a:pt x="20671" y="0"/>
                    <a:pt x="20126" y="0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16" name="Google Shape;916;p81"/>
            <p:cNvSpPr/>
            <p:nvPr/>
          </p:nvSpPr>
          <p:spPr>
            <a:xfrm>
              <a:off x="3345500" y="2615125"/>
              <a:ext cx="528175" cy="84175"/>
            </a:xfrm>
            <a:custGeom>
              <a:avLst/>
              <a:gdLst/>
              <a:ahLst/>
              <a:cxnLst/>
              <a:rect l="l" t="t" r="r" b="b"/>
              <a:pathLst>
                <a:path w="21127" h="3367" extrusionOk="0">
                  <a:moveTo>
                    <a:pt x="1001" y="1"/>
                  </a:moveTo>
                  <a:cubicBezTo>
                    <a:pt x="456" y="1"/>
                    <a:pt x="1" y="433"/>
                    <a:pt x="1" y="978"/>
                  </a:cubicBezTo>
                  <a:lnTo>
                    <a:pt x="1" y="2388"/>
                  </a:lnTo>
                  <a:cubicBezTo>
                    <a:pt x="1" y="2934"/>
                    <a:pt x="456" y="3366"/>
                    <a:pt x="1001" y="3366"/>
                  </a:cubicBezTo>
                  <a:lnTo>
                    <a:pt x="20126" y="3366"/>
                  </a:lnTo>
                  <a:cubicBezTo>
                    <a:pt x="20671" y="3366"/>
                    <a:pt x="21126" y="2934"/>
                    <a:pt x="21126" y="2388"/>
                  </a:cubicBezTo>
                  <a:lnTo>
                    <a:pt x="21126" y="978"/>
                  </a:lnTo>
                  <a:cubicBezTo>
                    <a:pt x="21126" y="433"/>
                    <a:pt x="20671" y="1"/>
                    <a:pt x="20126" y="1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17" name="Google Shape;917;p81"/>
            <p:cNvSpPr/>
            <p:nvPr/>
          </p:nvSpPr>
          <p:spPr>
            <a:xfrm>
              <a:off x="3306850" y="2676475"/>
              <a:ext cx="605475" cy="32475"/>
            </a:xfrm>
            <a:custGeom>
              <a:avLst/>
              <a:gdLst/>
              <a:ahLst/>
              <a:cxnLst/>
              <a:rect l="l" t="t" r="r" b="b"/>
              <a:pathLst>
                <a:path w="24219" h="1299" extrusionOk="0">
                  <a:moveTo>
                    <a:pt x="443" y="1"/>
                  </a:moveTo>
                  <a:cubicBezTo>
                    <a:pt x="207" y="1"/>
                    <a:pt x="2" y="219"/>
                    <a:pt x="23" y="457"/>
                  </a:cubicBezTo>
                  <a:lnTo>
                    <a:pt x="23" y="821"/>
                  </a:lnTo>
                  <a:cubicBezTo>
                    <a:pt x="0" y="1071"/>
                    <a:pt x="228" y="1299"/>
                    <a:pt x="478" y="1299"/>
                  </a:cubicBezTo>
                  <a:lnTo>
                    <a:pt x="23764" y="1299"/>
                  </a:lnTo>
                  <a:cubicBezTo>
                    <a:pt x="24014" y="1299"/>
                    <a:pt x="24219" y="1071"/>
                    <a:pt x="24219" y="821"/>
                  </a:cubicBezTo>
                  <a:lnTo>
                    <a:pt x="24219" y="457"/>
                  </a:lnTo>
                  <a:cubicBezTo>
                    <a:pt x="24219" y="207"/>
                    <a:pt x="24014" y="2"/>
                    <a:pt x="23764" y="2"/>
                  </a:cubicBezTo>
                  <a:lnTo>
                    <a:pt x="478" y="2"/>
                  </a:lnTo>
                  <a:cubicBezTo>
                    <a:pt x="466" y="1"/>
                    <a:pt x="455" y="1"/>
                    <a:pt x="443" y="1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18" name="Google Shape;918;p81"/>
            <p:cNvSpPr/>
            <p:nvPr/>
          </p:nvSpPr>
          <p:spPr>
            <a:xfrm>
              <a:off x="3369375" y="2317225"/>
              <a:ext cx="480975" cy="279175"/>
            </a:xfrm>
            <a:custGeom>
              <a:avLst/>
              <a:gdLst/>
              <a:ahLst/>
              <a:cxnLst/>
              <a:rect l="l" t="t" r="r" b="b"/>
              <a:pathLst>
                <a:path w="19239" h="11167" extrusionOk="0">
                  <a:moveTo>
                    <a:pt x="1" y="1"/>
                  </a:moveTo>
                  <a:lnTo>
                    <a:pt x="1" y="11166"/>
                  </a:lnTo>
                  <a:lnTo>
                    <a:pt x="19239" y="11166"/>
                  </a:lnTo>
                  <a:lnTo>
                    <a:pt x="1923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19" name="Google Shape;919;p81"/>
            <p:cNvSpPr/>
            <p:nvPr/>
          </p:nvSpPr>
          <p:spPr>
            <a:xfrm>
              <a:off x="3606450" y="2301875"/>
              <a:ext cx="6275" cy="6850"/>
            </a:xfrm>
            <a:custGeom>
              <a:avLst/>
              <a:gdLst/>
              <a:ahLst/>
              <a:cxnLst/>
              <a:rect l="l" t="t" r="r" b="b"/>
              <a:pathLst>
                <a:path w="251" h="274" extrusionOk="0">
                  <a:moveTo>
                    <a:pt x="137" y="1"/>
                  </a:moveTo>
                  <a:cubicBezTo>
                    <a:pt x="46" y="1"/>
                    <a:pt x="0" y="69"/>
                    <a:pt x="0" y="137"/>
                  </a:cubicBezTo>
                  <a:cubicBezTo>
                    <a:pt x="0" y="206"/>
                    <a:pt x="46" y="274"/>
                    <a:pt x="137" y="274"/>
                  </a:cubicBezTo>
                  <a:cubicBezTo>
                    <a:pt x="205" y="274"/>
                    <a:pt x="251" y="206"/>
                    <a:pt x="251" y="137"/>
                  </a:cubicBezTo>
                  <a:cubicBezTo>
                    <a:pt x="251" y="69"/>
                    <a:pt x="205" y="1"/>
                    <a:pt x="137" y="1"/>
                  </a:cubicBezTo>
                  <a:close/>
                </a:path>
              </a:pathLst>
            </a:custGeom>
            <a:solidFill>
              <a:srgbClr val="7D7E7D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0" name="Google Shape;920;p81"/>
            <p:cNvSpPr/>
            <p:nvPr/>
          </p:nvSpPr>
          <p:spPr>
            <a:xfrm>
              <a:off x="3346650" y="2621375"/>
              <a:ext cx="527025" cy="51775"/>
            </a:xfrm>
            <a:custGeom>
              <a:avLst/>
              <a:gdLst/>
              <a:ahLst/>
              <a:cxnLst/>
              <a:rect l="l" t="t" r="r" b="b"/>
              <a:pathLst>
                <a:path w="21081" h="2071" extrusionOk="0">
                  <a:moveTo>
                    <a:pt x="1160" y="1"/>
                  </a:moveTo>
                  <a:lnTo>
                    <a:pt x="0" y="2070"/>
                  </a:lnTo>
                  <a:lnTo>
                    <a:pt x="21080" y="2070"/>
                  </a:lnTo>
                  <a:lnTo>
                    <a:pt x="19920" y="1"/>
                  </a:lnTo>
                  <a:close/>
                </a:path>
              </a:pathLst>
            </a:custGeom>
            <a:solidFill>
              <a:srgbClr val="7D7E7D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1" name="Google Shape;921;p81"/>
            <p:cNvSpPr/>
            <p:nvPr/>
          </p:nvSpPr>
          <p:spPr>
            <a:xfrm>
              <a:off x="3325050" y="2683350"/>
              <a:ext cx="573075" cy="25"/>
            </a:xfrm>
            <a:custGeom>
              <a:avLst/>
              <a:gdLst/>
              <a:ahLst/>
              <a:cxnLst/>
              <a:rect l="l" t="t" r="r" b="b"/>
              <a:pathLst>
                <a:path w="22923" h="1" fill="none" extrusionOk="0">
                  <a:moveTo>
                    <a:pt x="0" y="0"/>
                  </a:moveTo>
                  <a:lnTo>
                    <a:pt x="22922" y="0"/>
                  </a:lnTo>
                </a:path>
              </a:pathLst>
            </a:custGeom>
            <a:noFill/>
            <a:ln w="9525" cap="rnd" cmpd="sng">
              <a:solidFill>
                <a:srgbClr val="4B4D4E"/>
              </a:solidFill>
              <a:prstDash val="solid"/>
              <a:miter lim="22739"/>
              <a:headEnd type="none" w="sm" len="sm"/>
              <a:tailEnd type="none" w="sm" len="sm"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2500B29-4127-46C2-8231-8A6D09460128}"/>
              </a:ext>
            </a:extLst>
          </p:cNvPr>
          <p:cNvGrpSpPr/>
          <p:nvPr/>
        </p:nvGrpSpPr>
        <p:grpSpPr>
          <a:xfrm>
            <a:off x="6369726" y="4885299"/>
            <a:ext cx="508315" cy="311181"/>
            <a:chOff x="6369726" y="5716576"/>
            <a:chExt cx="508315" cy="311181"/>
          </a:xfrm>
        </p:grpSpPr>
        <p:grpSp>
          <p:nvGrpSpPr>
            <p:cNvPr id="937" name="Google Shape;937;p81"/>
            <p:cNvGrpSpPr/>
            <p:nvPr/>
          </p:nvGrpSpPr>
          <p:grpSpPr>
            <a:xfrm>
              <a:off x="6369726" y="5716576"/>
              <a:ext cx="150167" cy="311181"/>
              <a:chOff x="2578025" y="2206950"/>
              <a:chExt cx="289400" cy="568525"/>
            </a:xfrm>
          </p:grpSpPr>
          <p:sp>
            <p:nvSpPr>
              <p:cNvPr id="938" name="Google Shape;938;p81"/>
              <p:cNvSpPr/>
              <p:nvPr/>
            </p:nvSpPr>
            <p:spPr>
              <a:xfrm>
                <a:off x="2578025" y="2206950"/>
                <a:ext cx="289400" cy="568525"/>
              </a:xfrm>
              <a:custGeom>
                <a:avLst/>
                <a:gdLst/>
                <a:ahLst/>
                <a:cxnLst/>
                <a:rect l="l" t="t" r="r" b="b"/>
                <a:pathLst>
                  <a:path w="11576" h="22741" extrusionOk="0">
                    <a:moveTo>
                      <a:pt x="1001" y="0"/>
                    </a:moveTo>
                    <a:cubicBezTo>
                      <a:pt x="433" y="0"/>
                      <a:pt x="1" y="432"/>
                      <a:pt x="1" y="978"/>
                    </a:cubicBezTo>
                    <a:lnTo>
                      <a:pt x="1" y="21762"/>
                    </a:lnTo>
                    <a:cubicBezTo>
                      <a:pt x="1" y="22308"/>
                      <a:pt x="433" y="22740"/>
                      <a:pt x="1001" y="22740"/>
                    </a:cubicBezTo>
                    <a:lnTo>
                      <a:pt x="10598" y="22740"/>
                    </a:lnTo>
                    <a:cubicBezTo>
                      <a:pt x="11143" y="22740"/>
                      <a:pt x="11576" y="22308"/>
                      <a:pt x="11576" y="21762"/>
                    </a:cubicBezTo>
                    <a:lnTo>
                      <a:pt x="11576" y="978"/>
                    </a:lnTo>
                    <a:cubicBezTo>
                      <a:pt x="11576" y="432"/>
                      <a:pt x="11143" y="0"/>
                      <a:pt x="10598" y="0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39" name="Google Shape;939;p81"/>
              <p:cNvSpPr/>
              <p:nvPr/>
            </p:nvSpPr>
            <p:spPr>
              <a:xfrm>
                <a:off x="2590550" y="2292800"/>
                <a:ext cx="264375" cy="396825"/>
              </a:xfrm>
              <a:custGeom>
                <a:avLst/>
                <a:gdLst/>
                <a:ahLst/>
                <a:cxnLst/>
                <a:rect l="l" t="t" r="r" b="b"/>
                <a:pathLst>
                  <a:path w="10575" h="15873" extrusionOk="0">
                    <a:moveTo>
                      <a:pt x="0" y="0"/>
                    </a:moveTo>
                    <a:lnTo>
                      <a:pt x="0" y="15873"/>
                    </a:lnTo>
                    <a:lnTo>
                      <a:pt x="10574" y="15873"/>
                    </a:lnTo>
                    <a:lnTo>
                      <a:pt x="1057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0" name="Google Shape;940;p81"/>
              <p:cNvSpPr/>
              <p:nvPr/>
            </p:nvSpPr>
            <p:spPr>
              <a:xfrm>
                <a:off x="2696275" y="2703800"/>
                <a:ext cx="52900" cy="52900"/>
              </a:xfrm>
              <a:custGeom>
                <a:avLst/>
                <a:gdLst/>
                <a:ahLst/>
                <a:cxnLst/>
                <a:rect l="l" t="t" r="r" b="b"/>
                <a:pathLst>
                  <a:path w="2116" h="2116" extrusionOk="0">
                    <a:moveTo>
                      <a:pt x="1047" y="1"/>
                    </a:moveTo>
                    <a:cubicBezTo>
                      <a:pt x="478" y="1"/>
                      <a:pt x="1" y="456"/>
                      <a:pt x="1" y="1047"/>
                    </a:cubicBezTo>
                    <a:cubicBezTo>
                      <a:pt x="1" y="1638"/>
                      <a:pt x="478" y="2116"/>
                      <a:pt x="1047" y="2116"/>
                    </a:cubicBezTo>
                    <a:cubicBezTo>
                      <a:pt x="1638" y="2116"/>
                      <a:pt x="2116" y="1638"/>
                      <a:pt x="2116" y="1047"/>
                    </a:cubicBezTo>
                    <a:cubicBezTo>
                      <a:pt x="2116" y="456"/>
                      <a:pt x="1638" y="1"/>
                      <a:pt x="1047" y="1"/>
                    </a:cubicBezTo>
                    <a:close/>
                  </a:path>
                </a:pathLst>
              </a:custGeom>
              <a:solidFill>
                <a:srgbClr val="7D7E7D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1" name="Google Shape;941;p81"/>
              <p:cNvSpPr/>
              <p:nvPr/>
            </p:nvSpPr>
            <p:spPr>
              <a:xfrm>
                <a:off x="2696850" y="2242750"/>
                <a:ext cx="52325" cy="14250"/>
              </a:xfrm>
              <a:custGeom>
                <a:avLst/>
                <a:gdLst/>
                <a:ahLst/>
                <a:cxnLst/>
                <a:rect l="l" t="t" r="r" b="b"/>
                <a:pathLst>
                  <a:path w="2093" h="570" extrusionOk="0">
                    <a:moveTo>
                      <a:pt x="410" y="1"/>
                    </a:moveTo>
                    <a:cubicBezTo>
                      <a:pt x="182" y="1"/>
                      <a:pt x="1" y="115"/>
                      <a:pt x="1" y="274"/>
                    </a:cubicBezTo>
                    <a:cubicBezTo>
                      <a:pt x="1" y="433"/>
                      <a:pt x="182" y="569"/>
                      <a:pt x="410" y="569"/>
                    </a:cubicBezTo>
                    <a:lnTo>
                      <a:pt x="1683" y="569"/>
                    </a:lnTo>
                    <a:cubicBezTo>
                      <a:pt x="1911" y="569"/>
                      <a:pt x="2093" y="433"/>
                      <a:pt x="2093" y="274"/>
                    </a:cubicBezTo>
                    <a:cubicBezTo>
                      <a:pt x="2093" y="115"/>
                      <a:pt x="1911" y="1"/>
                      <a:pt x="1706" y="1"/>
                    </a:cubicBezTo>
                    <a:close/>
                  </a:path>
                </a:pathLst>
              </a:custGeom>
              <a:solidFill>
                <a:srgbClr val="7D7E7D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942" name="Google Shape;942;p81"/>
            <p:cNvGrpSpPr/>
            <p:nvPr/>
          </p:nvGrpSpPr>
          <p:grpSpPr>
            <a:xfrm>
              <a:off x="6560038" y="5716576"/>
              <a:ext cx="318003" cy="228094"/>
              <a:chOff x="3303450" y="2292225"/>
              <a:chExt cx="612850" cy="416725"/>
            </a:xfrm>
          </p:grpSpPr>
          <p:sp>
            <p:nvSpPr>
              <p:cNvPr id="943" name="Google Shape;943;p81"/>
              <p:cNvSpPr/>
              <p:nvPr/>
            </p:nvSpPr>
            <p:spPr>
              <a:xfrm>
                <a:off x="3303450" y="2601050"/>
                <a:ext cx="117125" cy="98250"/>
              </a:xfrm>
              <a:custGeom>
                <a:avLst/>
                <a:gdLst/>
                <a:ahLst/>
                <a:cxnLst/>
                <a:rect l="l" t="t" r="r" b="b"/>
                <a:pathLst>
                  <a:path w="4685" h="3930" extrusionOk="0">
                    <a:moveTo>
                      <a:pt x="2351" y="1"/>
                    </a:moveTo>
                    <a:cubicBezTo>
                      <a:pt x="2172" y="1"/>
                      <a:pt x="1990" y="120"/>
                      <a:pt x="1842" y="359"/>
                    </a:cubicBezTo>
                    <a:lnTo>
                      <a:pt x="273" y="3065"/>
                    </a:lnTo>
                    <a:cubicBezTo>
                      <a:pt x="0" y="3543"/>
                      <a:pt x="227" y="3929"/>
                      <a:pt x="773" y="3929"/>
                    </a:cubicBezTo>
                    <a:lnTo>
                      <a:pt x="3911" y="3929"/>
                    </a:lnTo>
                    <a:cubicBezTo>
                      <a:pt x="4457" y="3929"/>
                      <a:pt x="4684" y="3543"/>
                      <a:pt x="4412" y="3065"/>
                    </a:cubicBezTo>
                    <a:lnTo>
                      <a:pt x="2843" y="359"/>
                    </a:lnTo>
                    <a:cubicBezTo>
                      <a:pt x="2706" y="120"/>
                      <a:pt x="2530" y="1"/>
                      <a:pt x="2351" y="1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4" name="Google Shape;944;p81"/>
              <p:cNvSpPr/>
              <p:nvPr/>
            </p:nvSpPr>
            <p:spPr>
              <a:xfrm>
                <a:off x="3799175" y="2601050"/>
                <a:ext cx="117125" cy="98250"/>
              </a:xfrm>
              <a:custGeom>
                <a:avLst/>
                <a:gdLst/>
                <a:ahLst/>
                <a:cxnLst/>
                <a:rect l="l" t="t" r="r" b="b"/>
                <a:pathLst>
                  <a:path w="4685" h="3930" extrusionOk="0">
                    <a:moveTo>
                      <a:pt x="2351" y="1"/>
                    </a:moveTo>
                    <a:cubicBezTo>
                      <a:pt x="2172" y="1"/>
                      <a:pt x="1990" y="120"/>
                      <a:pt x="1842" y="359"/>
                    </a:cubicBezTo>
                    <a:lnTo>
                      <a:pt x="273" y="3065"/>
                    </a:lnTo>
                    <a:cubicBezTo>
                      <a:pt x="0" y="3543"/>
                      <a:pt x="228" y="3929"/>
                      <a:pt x="773" y="3929"/>
                    </a:cubicBezTo>
                    <a:lnTo>
                      <a:pt x="3912" y="3929"/>
                    </a:lnTo>
                    <a:cubicBezTo>
                      <a:pt x="4457" y="3929"/>
                      <a:pt x="4685" y="3543"/>
                      <a:pt x="4412" y="3065"/>
                    </a:cubicBezTo>
                    <a:lnTo>
                      <a:pt x="2843" y="359"/>
                    </a:lnTo>
                    <a:cubicBezTo>
                      <a:pt x="2706" y="120"/>
                      <a:pt x="2530" y="1"/>
                      <a:pt x="2351" y="1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5" name="Google Shape;945;p81"/>
              <p:cNvSpPr/>
              <p:nvPr/>
            </p:nvSpPr>
            <p:spPr>
              <a:xfrm>
                <a:off x="3345500" y="2292225"/>
                <a:ext cx="528175" cy="343950"/>
              </a:xfrm>
              <a:custGeom>
                <a:avLst/>
                <a:gdLst/>
                <a:ahLst/>
                <a:cxnLst/>
                <a:rect l="l" t="t" r="r" b="b"/>
                <a:pathLst>
                  <a:path w="21127" h="13758" extrusionOk="0">
                    <a:moveTo>
                      <a:pt x="1001" y="0"/>
                    </a:moveTo>
                    <a:cubicBezTo>
                      <a:pt x="456" y="0"/>
                      <a:pt x="1" y="455"/>
                      <a:pt x="1" y="1001"/>
                    </a:cubicBezTo>
                    <a:lnTo>
                      <a:pt x="1" y="12780"/>
                    </a:lnTo>
                    <a:cubicBezTo>
                      <a:pt x="1" y="13326"/>
                      <a:pt x="456" y="13758"/>
                      <a:pt x="1001" y="13758"/>
                    </a:cubicBezTo>
                    <a:lnTo>
                      <a:pt x="20126" y="13758"/>
                    </a:lnTo>
                    <a:cubicBezTo>
                      <a:pt x="20671" y="13758"/>
                      <a:pt x="21126" y="13326"/>
                      <a:pt x="21126" y="12780"/>
                    </a:cubicBezTo>
                    <a:lnTo>
                      <a:pt x="21126" y="1001"/>
                    </a:lnTo>
                    <a:cubicBezTo>
                      <a:pt x="21126" y="455"/>
                      <a:pt x="20671" y="0"/>
                      <a:pt x="20126" y="0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6" name="Google Shape;946;p81"/>
              <p:cNvSpPr/>
              <p:nvPr/>
            </p:nvSpPr>
            <p:spPr>
              <a:xfrm>
                <a:off x="3345500" y="2615125"/>
                <a:ext cx="528175" cy="84175"/>
              </a:xfrm>
              <a:custGeom>
                <a:avLst/>
                <a:gdLst/>
                <a:ahLst/>
                <a:cxnLst/>
                <a:rect l="l" t="t" r="r" b="b"/>
                <a:pathLst>
                  <a:path w="21127" h="3367" extrusionOk="0">
                    <a:moveTo>
                      <a:pt x="1001" y="1"/>
                    </a:moveTo>
                    <a:cubicBezTo>
                      <a:pt x="456" y="1"/>
                      <a:pt x="1" y="433"/>
                      <a:pt x="1" y="978"/>
                    </a:cubicBezTo>
                    <a:lnTo>
                      <a:pt x="1" y="2388"/>
                    </a:lnTo>
                    <a:cubicBezTo>
                      <a:pt x="1" y="2934"/>
                      <a:pt x="456" y="3366"/>
                      <a:pt x="1001" y="3366"/>
                    </a:cubicBezTo>
                    <a:lnTo>
                      <a:pt x="20126" y="3366"/>
                    </a:lnTo>
                    <a:cubicBezTo>
                      <a:pt x="20671" y="3366"/>
                      <a:pt x="21126" y="2934"/>
                      <a:pt x="21126" y="2388"/>
                    </a:cubicBezTo>
                    <a:lnTo>
                      <a:pt x="21126" y="978"/>
                    </a:lnTo>
                    <a:cubicBezTo>
                      <a:pt x="21126" y="433"/>
                      <a:pt x="20671" y="1"/>
                      <a:pt x="20126" y="1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7" name="Google Shape;947;p81"/>
              <p:cNvSpPr/>
              <p:nvPr/>
            </p:nvSpPr>
            <p:spPr>
              <a:xfrm>
                <a:off x="3306850" y="2676475"/>
                <a:ext cx="605475" cy="32475"/>
              </a:xfrm>
              <a:custGeom>
                <a:avLst/>
                <a:gdLst/>
                <a:ahLst/>
                <a:cxnLst/>
                <a:rect l="l" t="t" r="r" b="b"/>
                <a:pathLst>
                  <a:path w="24219" h="1299" extrusionOk="0">
                    <a:moveTo>
                      <a:pt x="443" y="1"/>
                    </a:moveTo>
                    <a:cubicBezTo>
                      <a:pt x="207" y="1"/>
                      <a:pt x="2" y="219"/>
                      <a:pt x="23" y="457"/>
                    </a:cubicBezTo>
                    <a:lnTo>
                      <a:pt x="23" y="821"/>
                    </a:lnTo>
                    <a:cubicBezTo>
                      <a:pt x="0" y="1071"/>
                      <a:pt x="228" y="1299"/>
                      <a:pt x="478" y="1299"/>
                    </a:cubicBezTo>
                    <a:lnTo>
                      <a:pt x="23764" y="1299"/>
                    </a:lnTo>
                    <a:cubicBezTo>
                      <a:pt x="24014" y="1299"/>
                      <a:pt x="24219" y="1071"/>
                      <a:pt x="24219" y="821"/>
                    </a:cubicBezTo>
                    <a:lnTo>
                      <a:pt x="24219" y="457"/>
                    </a:lnTo>
                    <a:cubicBezTo>
                      <a:pt x="24219" y="207"/>
                      <a:pt x="24014" y="2"/>
                      <a:pt x="23764" y="2"/>
                    </a:cubicBezTo>
                    <a:lnTo>
                      <a:pt x="478" y="2"/>
                    </a:lnTo>
                    <a:cubicBezTo>
                      <a:pt x="466" y="1"/>
                      <a:pt x="455" y="1"/>
                      <a:pt x="443" y="1"/>
                    </a:cubicBezTo>
                    <a:close/>
                  </a:path>
                </a:pathLst>
              </a:custGeom>
              <a:solidFill>
                <a:srgbClr val="363737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8" name="Google Shape;948;p81"/>
              <p:cNvSpPr/>
              <p:nvPr/>
            </p:nvSpPr>
            <p:spPr>
              <a:xfrm>
                <a:off x="3369375" y="2317225"/>
                <a:ext cx="480975" cy="279175"/>
              </a:xfrm>
              <a:custGeom>
                <a:avLst/>
                <a:gdLst/>
                <a:ahLst/>
                <a:cxnLst/>
                <a:rect l="l" t="t" r="r" b="b"/>
                <a:pathLst>
                  <a:path w="19239" h="11167" extrusionOk="0">
                    <a:moveTo>
                      <a:pt x="1" y="1"/>
                    </a:moveTo>
                    <a:lnTo>
                      <a:pt x="1" y="11166"/>
                    </a:lnTo>
                    <a:lnTo>
                      <a:pt x="19239" y="11166"/>
                    </a:lnTo>
                    <a:lnTo>
                      <a:pt x="19239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49" name="Google Shape;949;p81"/>
              <p:cNvSpPr/>
              <p:nvPr/>
            </p:nvSpPr>
            <p:spPr>
              <a:xfrm>
                <a:off x="3606450" y="2301875"/>
                <a:ext cx="6275" cy="6850"/>
              </a:xfrm>
              <a:custGeom>
                <a:avLst/>
                <a:gdLst/>
                <a:ahLst/>
                <a:cxnLst/>
                <a:rect l="l" t="t" r="r" b="b"/>
                <a:pathLst>
                  <a:path w="251" h="274" extrusionOk="0">
                    <a:moveTo>
                      <a:pt x="137" y="1"/>
                    </a:moveTo>
                    <a:cubicBezTo>
                      <a:pt x="46" y="1"/>
                      <a:pt x="0" y="69"/>
                      <a:pt x="0" y="137"/>
                    </a:cubicBezTo>
                    <a:cubicBezTo>
                      <a:pt x="0" y="206"/>
                      <a:pt x="46" y="274"/>
                      <a:pt x="137" y="274"/>
                    </a:cubicBezTo>
                    <a:cubicBezTo>
                      <a:pt x="205" y="274"/>
                      <a:pt x="251" y="206"/>
                      <a:pt x="251" y="137"/>
                    </a:cubicBezTo>
                    <a:cubicBezTo>
                      <a:pt x="251" y="69"/>
                      <a:pt x="205" y="1"/>
                      <a:pt x="137" y="1"/>
                    </a:cubicBezTo>
                    <a:close/>
                  </a:path>
                </a:pathLst>
              </a:custGeom>
              <a:solidFill>
                <a:srgbClr val="7D7E7D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50" name="Google Shape;950;p81"/>
              <p:cNvSpPr/>
              <p:nvPr/>
            </p:nvSpPr>
            <p:spPr>
              <a:xfrm>
                <a:off x="3346650" y="2621375"/>
                <a:ext cx="527025" cy="51775"/>
              </a:xfrm>
              <a:custGeom>
                <a:avLst/>
                <a:gdLst/>
                <a:ahLst/>
                <a:cxnLst/>
                <a:rect l="l" t="t" r="r" b="b"/>
                <a:pathLst>
                  <a:path w="21081" h="2071" extrusionOk="0">
                    <a:moveTo>
                      <a:pt x="1160" y="1"/>
                    </a:moveTo>
                    <a:lnTo>
                      <a:pt x="0" y="2070"/>
                    </a:lnTo>
                    <a:lnTo>
                      <a:pt x="21080" y="2070"/>
                    </a:lnTo>
                    <a:lnTo>
                      <a:pt x="19920" y="1"/>
                    </a:lnTo>
                    <a:close/>
                  </a:path>
                </a:pathLst>
              </a:custGeom>
              <a:solidFill>
                <a:srgbClr val="7D7E7D"/>
              </a:solidFill>
              <a:ln>
                <a:noFill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51" name="Google Shape;951;p81"/>
              <p:cNvSpPr/>
              <p:nvPr/>
            </p:nvSpPr>
            <p:spPr>
              <a:xfrm>
                <a:off x="3325050" y="2683350"/>
                <a:ext cx="573075" cy="25"/>
              </a:xfrm>
              <a:custGeom>
                <a:avLst/>
                <a:gdLst/>
                <a:ahLst/>
                <a:cxnLst/>
                <a:rect l="l" t="t" r="r" b="b"/>
                <a:pathLst>
                  <a:path w="22923" h="1" fill="none" extrusionOk="0">
                    <a:moveTo>
                      <a:pt x="0" y="0"/>
                    </a:moveTo>
                    <a:lnTo>
                      <a:pt x="22922" y="0"/>
                    </a:lnTo>
                  </a:path>
                </a:pathLst>
              </a:custGeom>
              <a:noFill/>
              <a:ln w="9525" cap="rnd" cmpd="sng">
                <a:solidFill>
                  <a:srgbClr val="4B4D4E"/>
                </a:solidFill>
                <a:prstDash val="solid"/>
                <a:miter lim="22739"/>
                <a:headEnd type="none" w="sm" len="sm"/>
                <a:tailEnd type="none" w="sm" len="sm"/>
              </a:ln>
            </p:spPr>
            <p:txBody>
              <a:bodyPr spcFirstLastPara="1" wrap="square" lIns="121595" tIns="121595" rIns="121595" bIns="121595" anchor="ctr" anchorCtr="0">
                <a:noAutofit/>
              </a:bodyPr>
              <a:lstStyle/>
              <a:p>
                <a:pPr defTabSz="956195">
                  <a:buClr>
                    <a:srgbClr val="000000"/>
                  </a:buClr>
                  <a:buSzPts val="1800"/>
                </a:pPr>
                <a:endParaRPr sz="1883" kern="0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90" name="Google Shape;889;p81">
            <a:extLst>
              <a:ext uri="{FF2B5EF4-FFF2-40B4-BE49-F238E27FC236}">
                <a16:creationId xmlns:a16="http://schemas.microsoft.com/office/drawing/2014/main" id="{F3E0FE75-69F2-494C-8AC9-ED0744824045}"/>
              </a:ext>
            </a:extLst>
          </p:cNvPr>
          <p:cNvSpPr/>
          <p:nvPr/>
        </p:nvSpPr>
        <p:spPr>
          <a:xfrm>
            <a:off x="3288238" y="2741289"/>
            <a:ext cx="974745" cy="967216"/>
          </a:xfrm>
          <a:prstGeom prst="ellipse">
            <a:avLst/>
          </a:prstGeom>
          <a:solidFill>
            <a:srgbClr val="FFFFFF"/>
          </a:solidFill>
          <a:ln w="9525" cap="flat" cmpd="sng">
            <a:solidFill>
              <a:srgbClr val="BCCCA8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595" tIns="121595" rIns="121595" bIns="121595" anchor="ctr" anchorCtr="0">
            <a:noAutofit/>
          </a:bodyPr>
          <a:lstStyle/>
          <a:p>
            <a:pPr defTabSz="956195">
              <a:buClr>
                <a:srgbClr val="000000"/>
              </a:buClr>
              <a:buSzPts val="1800"/>
            </a:pPr>
            <a:endParaRPr sz="1883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3" name="Google Shape;1244;p140">
            <a:extLst>
              <a:ext uri="{FF2B5EF4-FFF2-40B4-BE49-F238E27FC236}">
                <a16:creationId xmlns:a16="http://schemas.microsoft.com/office/drawing/2014/main" id="{256914C3-3668-437A-88BD-862AA5FBAEB6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3399778" y="2811479"/>
            <a:ext cx="744309" cy="774769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5C303DEB-76E6-49B0-848A-C96C571DEC76}"/>
              </a:ext>
            </a:extLst>
          </p:cNvPr>
          <p:cNvGrpSpPr/>
          <p:nvPr/>
        </p:nvGrpSpPr>
        <p:grpSpPr>
          <a:xfrm>
            <a:off x="699310" y="2769294"/>
            <a:ext cx="974745" cy="967216"/>
            <a:chOff x="699310" y="2769294"/>
            <a:chExt cx="974745" cy="967216"/>
          </a:xfrm>
        </p:grpSpPr>
        <p:sp>
          <p:nvSpPr>
            <p:cNvPr id="95" name="Google Shape;901;p81">
              <a:extLst>
                <a:ext uri="{FF2B5EF4-FFF2-40B4-BE49-F238E27FC236}">
                  <a16:creationId xmlns:a16="http://schemas.microsoft.com/office/drawing/2014/main" id="{CA173BCF-1CD4-4EBB-AF9F-597B7411B9D8}"/>
                </a:ext>
              </a:extLst>
            </p:cNvPr>
            <p:cNvSpPr/>
            <p:nvPr/>
          </p:nvSpPr>
          <p:spPr>
            <a:xfrm>
              <a:off x="699310" y="2769294"/>
              <a:ext cx="974745" cy="967216"/>
            </a:xfrm>
            <a:prstGeom prst="ellipse">
              <a:avLst/>
            </a:prstGeom>
            <a:solidFill>
              <a:srgbClr val="FFFFFF"/>
            </a:solidFill>
            <a:ln w="9525" cap="flat" cmpd="sng">
              <a:solidFill>
                <a:srgbClr val="BCCCA8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6" name="Google Shape;967;p81">
              <a:extLst>
                <a:ext uri="{FF2B5EF4-FFF2-40B4-BE49-F238E27FC236}">
                  <a16:creationId xmlns:a16="http://schemas.microsoft.com/office/drawing/2014/main" id="{732D53DD-7424-4A95-A18D-AE0930428DBD}"/>
                </a:ext>
              </a:extLst>
            </p:cNvPr>
            <p:cNvSpPr/>
            <p:nvPr/>
          </p:nvSpPr>
          <p:spPr>
            <a:xfrm>
              <a:off x="902140" y="2905873"/>
              <a:ext cx="569123" cy="747071"/>
            </a:xfrm>
            <a:custGeom>
              <a:avLst/>
              <a:gdLst/>
              <a:ahLst/>
              <a:cxnLst/>
              <a:rect l="l" t="t" r="r" b="b"/>
              <a:pathLst>
                <a:path w="570" h="745" extrusionOk="0">
                  <a:moveTo>
                    <a:pt x="383" y="1"/>
                  </a:moveTo>
                  <a:cubicBezTo>
                    <a:pt x="357" y="1"/>
                    <a:pt x="293" y="1"/>
                    <a:pt x="238" y="40"/>
                  </a:cubicBezTo>
                  <a:cubicBezTo>
                    <a:pt x="80" y="43"/>
                    <a:pt x="56" y="119"/>
                    <a:pt x="56" y="191"/>
                  </a:cubicBezTo>
                  <a:cubicBezTo>
                    <a:pt x="56" y="212"/>
                    <a:pt x="61" y="251"/>
                    <a:pt x="64" y="272"/>
                  </a:cubicBezTo>
                  <a:cubicBezTo>
                    <a:pt x="53" y="278"/>
                    <a:pt x="43" y="283"/>
                    <a:pt x="38" y="291"/>
                  </a:cubicBezTo>
                  <a:cubicBezTo>
                    <a:pt x="27" y="299"/>
                    <a:pt x="22" y="317"/>
                    <a:pt x="24" y="333"/>
                  </a:cubicBezTo>
                  <a:lnTo>
                    <a:pt x="35" y="409"/>
                  </a:lnTo>
                  <a:cubicBezTo>
                    <a:pt x="38" y="433"/>
                    <a:pt x="56" y="452"/>
                    <a:pt x="80" y="454"/>
                  </a:cubicBezTo>
                  <a:cubicBezTo>
                    <a:pt x="88" y="507"/>
                    <a:pt x="114" y="560"/>
                    <a:pt x="148" y="599"/>
                  </a:cubicBezTo>
                  <a:lnTo>
                    <a:pt x="135" y="660"/>
                  </a:lnTo>
                  <a:lnTo>
                    <a:pt x="14" y="712"/>
                  </a:lnTo>
                  <a:cubicBezTo>
                    <a:pt x="3" y="718"/>
                    <a:pt x="1" y="726"/>
                    <a:pt x="3" y="733"/>
                  </a:cubicBezTo>
                  <a:cubicBezTo>
                    <a:pt x="9" y="742"/>
                    <a:pt x="14" y="745"/>
                    <a:pt x="20" y="745"/>
                  </a:cubicBezTo>
                  <a:cubicBezTo>
                    <a:pt x="22" y="745"/>
                    <a:pt x="25" y="745"/>
                    <a:pt x="27" y="744"/>
                  </a:cubicBezTo>
                  <a:lnTo>
                    <a:pt x="159" y="689"/>
                  </a:lnTo>
                  <a:cubicBezTo>
                    <a:pt x="167" y="689"/>
                    <a:pt x="169" y="686"/>
                    <a:pt x="169" y="678"/>
                  </a:cubicBezTo>
                  <a:lnTo>
                    <a:pt x="188" y="602"/>
                  </a:lnTo>
                  <a:cubicBezTo>
                    <a:pt x="193" y="596"/>
                    <a:pt x="188" y="589"/>
                    <a:pt x="185" y="586"/>
                  </a:cubicBezTo>
                  <a:cubicBezTo>
                    <a:pt x="146" y="549"/>
                    <a:pt x="119" y="494"/>
                    <a:pt x="117" y="441"/>
                  </a:cubicBezTo>
                  <a:cubicBezTo>
                    <a:pt x="117" y="430"/>
                    <a:pt x="109" y="425"/>
                    <a:pt x="101" y="425"/>
                  </a:cubicBezTo>
                  <a:lnTo>
                    <a:pt x="93" y="425"/>
                  </a:lnTo>
                  <a:cubicBezTo>
                    <a:pt x="82" y="425"/>
                    <a:pt x="75" y="415"/>
                    <a:pt x="75" y="404"/>
                  </a:cubicBezTo>
                  <a:lnTo>
                    <a:pt x="64" y="330"/>
                  </a:lnTo>
                  <a:cubicBezTo>
                    <a:pt x="64" y="322"/>
                    <a:pt x="67" y="317"/>
                    <a:pt x="69" y="312"/>
                  </a:cubicBezTo>
                  <a:cubicBezTo>
                    <a:pt x="75" y="309"/>
                    <a:pt x="80" y="307"/>
                    <a:pt x="88" y="307"/>
                  </a:cubicBezTo>
                  <a:lnTo>
                    <a:pt x="90" y="307"/>
                  </a:lnTo>
                  <a:cubicBezTo>
                    <a:pt x="96" y="307"/>
                    <a:pt x="101" y="304"/>
                    <a:pt x="104" y="301"/>
                  </a:cubicBezTo>
                  <a:cubicBezTo>
                    <a:pt x="106" y="296"/>
                    <a:pt x="106" y="291"/>
                    <a:pt x="106" y="285"/>
                  </a:cubicBezTo>
                  <a:cubicBezTo>
                    <a:pt x="106" y="283"/>
                    <a:pt x="96" y="214"/>
                    <a:pt x="96" y="191"/>
                  </a:cubicBezTo>
                  <a:cubicBezTo>
                    <a:pt x="96" y="127"/>
                    <a:pt x="109" y="72"/>
                    <a:pt x="251" y="72"/>
                  </a:cubicBezTo>
                  <a:cubicBezTo>
                    <a:pt x="254" y="72"/>
                    <a:pt x="259" y="72"/>
                    <a:pt x="262" y="69"/>
                  </a:cubicBezTo>
                  <a:cubicBezTo>
                    <a:pt x="304" y="38"/>
                    <a:pt x="351" y="32"/>
                    <a:pt x="391" y="32"/>
                  </a:cubicBezTo>
                  <a:cubicBezTo>
                    <a:pt x="446" y="32"/>
                    <a:pt x="483" y="51"/>
                    <a:pt x="504" y="83"/>
                  </a:cubicBezTo>
                  <a:cubicBezTo>
                    <a:pt x="530" y="122"/>
                    <a:pt x="523" y="146"/>
                    <a:pt x="509" y="159"/>
                  </a:cubicBezTo>
                  <a:lnTo>
                    <a:pt x="488" y="177"/>
                  </a:lnTo>
                  <a:cubicBezTo>
                    <a:pt x="488" y="183"/>
                    <a:pt x="486" y="185"/>
                    <a:pt x="486" y="188"/>
                  </a:cubicBezTo>
                  <a:lnTo>
                    <a:pt x="483" y="283"/>
                  </a:lnTo>
                  <a:cubicBezTo>
                    <a:pt x="483" y="291"/>
                    <a:pt x="483" y="293"/>
                    <a:pt x="486" y="296"/>
                  </a:cubicBezTo>
                  <a:cubicBezTo>
                    <a:pt x="488" y="301"/>
                    <a:pt x="496" y="304"/>
                    <a:pt x="499" y="304"/>
                  </a:cubicBezTo>
                  <a:cubicBezTo>
                    <a:pt x="504" y="304"/>
                    <a:pt x="512" y="307"/>
                    <a:pt x="515" y="309"/>
                  </a:cubicBezTo>
                  <a:cubicBezTo>
                    <a:pt x="523" y="314"/>
                    <a:pt x="523" y="320"/>
                    <a:pt x="523" y="328"/>
                  </a:cubicBezTo>
                  <a:lnTo>
                    <a:pt x="512" y="401"/>
                  </a:lnTo>
                  <a:cubicBezTo>
                    <a:pt x="512" y="412"/>
                    <a:pt x="501" y="423"/>
                    <a:pt x="488" y="423"/>
                  </a:cubicBezTo>
                  <a:cubicBezTo>
                    <a:pt x="478" y="423"/>
                    <a:pt x="472" y="428"/>
                    <a:pt x="472" y="438"/>
                  </a:cubicBezTo>
                  <a:cubicBezTo>
                    <a:pt x="470" y="494"/>
                    <a:pt x="438" y="552"/>
                    <a:pt x="399" y="586"/>
                  </a:cubicBezTo>
                  <a:cubicBezTo>
                    <a:pt x="396" y="591"/>
                    <a:pt x="396" y="596"/>
                    <a:pt x="396" y="604"/>
                  </a:cubicBezTo>
                  <a:lnTo>
                    <a:pt x="412" y="676"/>
                  </a:lnTo>
                  <a:cubicBezTo>
                    <a:pt x="412" y="678"/>
                    <a:pt x="420" y="683"/>
                    <a:pt x="422" y="686"/>
                  </a:cubicBezTo>
                  <a:lnTo>
                    <a:pt x="554" y="741"/>
                  </a:lnTo>
                  <a:lnTo>
                    <a:pt x="562" y="741"/>
                  </a:lnTo>
                  <a:cubicBezTo>
                    <a:pt x="567" y="741"/>
                    <a:pt x="570" y="739"/>
                    <a:pt x="562" y="733"/>
                  </a:cubicBezTo>
                  <a:cubicBezTo>
                    <a:pt x="565" y="726"/>
                    <a:pt x="562" y="715"/>
                    <a:pt x="552" y="712"/>
                  </a:cubicBezTo>
                  <a:lnTo>
                    <a:pt x="430" y="660"/>
                  </a:lnTo>
                  <a:lnTo>
                    <a:pt x="417" y="604"/>
                  </a:lnTo>
                  <a:cubicBezTo>
                    <a:pt x="457" y="565"/>
                    <a:pt x="483" y="512"/>
                    <a:pt x="488" y="454"/>
                  </a:cubicBezTo>
                  <a:cubicBezTo>
                    <a:pt x="507" y="449"/>
                    <a:pt x="525" y="433"/>
                    <a:pt x="528" y="409"/>
                  </a:cubicBezTo>
                  <a:lnTo>
                    <a:pt x="538" y="333"/>
                  </a:lnTo>
                  <a:cubicBezTo>
                    <a:pt x="541" y="317"/>
                    <a:pt x="536" y="304"/>
                    <a:pt x="525" y="291"/>
                  </a:cubicBezTo>
                  <a:cubicBezTo>
                    <a:pt x="517" y="283"/>
                    <a:pt x="512" y="278"/>
                    <a:pt x="501" y="272"/>
                  </a:cubicBezTo>
                  <a:lnTo>
                    <a:pt x="504" y="199"/>
                  </a:lnTo>
                  <a:lnTo>
                    <a:pt x="523" y="180"/>
                  </a:lnTo>
                  <a:cubicBezTo>
                    <a:pt x="544" y="162"/>
                    <a:pt x="562" y="122"/>
                    <a:pt x="525" y="67"/>
                  </a:cubicBezTo>
                  <a:cubicBezTo>
                    <a:pt x="499" y="22"/>
                    <a:pt x="449" y="1"/>
                    <a:pt x="383" y="1"/>
                  </a:cubicBezTo>
                  <a:close/>
                </a:path>
              </a:pathLst>
            </a:custGeom>
            <a:solidFill>
              <a:srgbClr val="24554F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98" name="Picture 97">
            <a:extLst>
              <a:ext uri="{FF2B5EF4-FFF2-40B4-BE49-F238E27FC236}">
                <a16:creationId xmlns:a16="http://schemas.microsoft.com/office/drawing/2014/main" id="{7D180F03-15EE-427F-92D2-150BE2AB4BD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" r="81315" b="-2038"/>
          <a:stretch/>
        </p:blipFill>
        <p:spPr>
          <a:xfrm>
            <a:off x="6257130" y="2902554"/>
            <a:ext cx="620911" cy="698401"/>
          </a:xfrm>
          <a:prstGeom prst="rect">
            <a:avLst/>
          </a:prstGeom>
        </p:spPr>
      </p:pic>
      <p:grpSp>
        <p:nvGrpSpPr>
          <p:cNvPr id="57" name="Google Shape;912;p81">
            <a:extLst>
              <a:ext uri="{FF2B5EF4-FFF2-40B4-BE49-F238E27FC236}">
                <a16:creationId xmlns:a16="http://schemas.microsoft.com/office/drawing/2014/main" id="{20639FDE-CAF8-48D5-9F86-8DF290341DE3}"/>
              </a:ext>
            </a:extLst>
          </p:cNvPr>
          <p:cNvGrpSpPr/>
          <p:nvPr/>
        </p:nvGrpSpPr>
        <p:grpSpPr>
          <a:xfrm>
            <a:off x="1066140" y="4885299"/>
            <a:ext cx="318003" cy="228094"/>
            <a:chOff x="3303450" y="2292225"/>
            <a:chExt cx="612850" cy="416725"/>
          </a:xfrm>
        </p:grpSpPr>
        <p:sp>
          <p:nvSpPr>
            <p:cNvPr id="58" name="Google Shape;913;p81">
              <a:extLst>
                <a:ext uri="{FF2B5EF4-FFF2-40B4-BE49-F238E27FC236}">
                  <a16:creationId xmlns:a16="http://schemas.microsoft.com/office/drawing/2014/main" id="{D81621AF-C92E-448D-9971-76CD5B8DBCFD}"/>
                </a:ext>
              </a:extLst>
            </p:cNvPr>
            <p:cNvSpPr/>
            <p:nvPr/>
          </p:nvSpPr>
          <p:spPr>
            <a:xfrm>
              <a:off x="3303450" y="2601050"/>
              <a:ext cx="117125" cy="98250"/>
            </a:xfrm>
            <a:custGeom>
              <a:avLst/>
              <a:gdLst/>
              <a:ahLst/>
              <a:cxnLst/>
              <a:rect l="l" t="t" r="r" b="b"/>
              <a:pathLst>
                <a:path w="4685" h="3930" extrusionOk="0">
                  <a:moveTo>
                    <a:pt x="2351" y="1"/>
                  </a:moveTo>
                  <a:cubicBezTo>
                    <a:pt x="2172" y="1"/>
                    <a:pt x="1990" y="120"/>
                    <a:pt x="1842" y="359"/>
                  </a:cubicBezTo>
                  <a:lnTo>
                    <a:pt x="273" y="3065"/>
                  </a:lnTo>
                  <a:cubicBezTo>
                    <a:pt x="0" y="3543"/>
                    <a:pt x="227" y="3929"/>
                    <a:pt x="773" y="3929"/>
                  </a:cubicBezTo>
                  <a:lnTo>
                    <a:pt x="3911" y="3929"/>
                  </a:lnTo>
                  <a:cubicBezTo>
                    <a:pt x="4457" y="3929"/>
                    <a:pt x="4684" y="3543"/>
                    <a:pt x="4412" y="3065"/>
                  </a:cubicBezTo>
                  <a:lnTo>
                    <a:pt x="2843" y="359"/>
                  </a:lnTo>
                  <a:cubicBezTo>
                    <a:pt x="2706" y="120"/>
                    <a:pt x="2530" y="1"/>
                    <a:pt x="2351" y="1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" name="Google Shape;914;p81">
              <a:extLst>
                <a:ext uri="{FF2B5EF4-FFF2-40B4-BE49-F238E27FC236}">
                  <a16:creationId xmlns:a16="http://schemas.microsoft.com/office/drawing/2014/main" id="{F5D16F96-6569-4C07-A758-D77AF6CBB373}"/>
                </a:ext>
              </a:extLst>
            </p:cNvPr>
            <p:cNvSpPr/>
            <p:nvPr/>
          </p:nvSpPr>
          <p:spPr>
            <a:xfrm>
              <a:off x="3799175" y="2601050"/>
              <a:ext cx="117125" cy="98250"/>
            </a:xfrm>
            <a:custGeom>
              <a:avLst/>
              <a:gdLst/>
              <a:ahLst/>
              <a:cxnLst/>
              <a:rect l="l" t="t" r="r" b="b"/>
              <a:pathLst>
                <a:path w="4685" h="3930" extrusionOk="0">
                  <a:moveTo>
                    <a:pt x="2351" y="1"/>
                  </a:moveTo>
                  <a:cubicBezTo>
                    <a:pt x="2172" y="1"/>
                    <a:pt x="1990" y="120"/>
                    <a:pt x="1842" y="359"/>
                  </a:cubicBezTo>
                  <a:lnTo>
                    <a:pt x="273" y="3065"/>
                  </a:lnTo>
                  <a:cubicBezTo>
                    <a:pt x="0" y="3543"/>
                    <a:pt x="228" y="3929"/>
                    <a:pt x="773" y="3929"/>
                  </a:cubicBezTo>
                  <a:lnTo>
                    <a:pt x="3912" y="3929"/>
                  </a:lnTo>
                  <a:cubicBezTo>
                    <a:pt x="4457" y="3929"/>
                    <a:pt x="4685" y="3543"/>
                    <a:pt x="4412" y="3065"/>
                  </a:cubicBezTo>
                  <a:lnTo>
                    <a:pt x="2843" y="359"/>
                  </a:lnTo>
                  <a:cubicBezTo>
                    <a:pt x="2706" y="120"/>
                    <a:pt x="2530" y="1"/>
                    <a:pt x="2351" y="1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" name="Google Shape;915;p81">
              <a:extLst>
                <a:ext uri="{FF2B5EF4-FFF2-40B4-BE49-F238E27FC236}">
                  <a16:creationId xmlns:a16="http://schemas.microsoft.com/office/drawing/2014/main" id="{D6CBB9FB-4D00-4E00-93F7-13B83BBBB1EF}"/>
                </a:ext>
              </a:extLst>
            </p:cNvPr>
            <p:cNvSpPr/>
            <p:nvPr/>
          </p:nvSpPr>
          <p:spPr>
            <a:xfrm>
              <a:off x="3345500" y="2292225"/>
              <a:ext cx="528175" cy="343950"/>
            </a:xfrm>
            <a:custGeom>
              <a:avLst/>
              <a:gdLst/>
              <a:ahLst/>
              <a:cxnLst/>
              <a:rect l="l" t="t" r="r" b="b"/>
              <a:pathLst>
                <a:path w="21127" h="13758" extrusionOk="0">
                  <a:moveTo>
                    <a:pt x="1001" y="0"/>
                  </a:moveTo>
                  <a:cubicBezTo>
                    <a:pt x="456" y="0"/>
                    <a:pt x="1" y="455"/>
                    <a:pt x="1" y="1001"/>
                  </a:cubicBezTo>
                  <a:lnTo>
                    <a:pt x="1" y="12780"/>
                  </a:lnTo>
                  <a:cubicBezTo>
                    <a:pt x="1" y="13326"/>
                    <a:pt x="456" y="13758"/>
                    <a:pt x="1001" y="13758"/>
                  </a:cubicBezTo>
                  <a:lnTo>
                    <a:pt x="20126" y="13758"/>
                  </a:lnTo>
                  <a:cubicBezTo>
                    <a:pt x="20671" y="13758"/>
                    <a:pt x="21126" y="13326"/>
                    <a:pt x="21126" y="12780"/>
                  </a:cubicBezTo>
                  <a:lnTo>
                    <a:pt x="21126" y="1001"/>
                  </a:lnTo>
                  <a:cubicBezTo>
                    <a:pt x="21126" y="455"/>
                    <a:pt x="20671" y="0"/>
                    <a:pt x="20126" y="0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" name="Google Shape;916;p81">
              <a:extLst>
                <a:ext uri="{FF2B5EF4-FFF2-40B4-BE49-F238E27FC236}">
                  <a16:creationId xmlns:a16="http://schemas.microsoft.com/office/drawing/2014/main" id="{E4B69255-695C-4CFE-A9DF-8B00755EF6E3}"/>
                </a:ext>
              </a:extLst>
            </p:cNvPr>
            <p:cNvSpPr/>
            <p:nvPr/>
          </p:nvSpPr>
          <p:spPr>
            <a:xfrm>
              <a:off x="3345500" y="2615125"/>
              <a:ext cx="528175" cy="84175"/>
            </a:xfrm>
            <a:custGeom>
              <a:avLst/>
              <a:gdLst/>
              <a:ahLst/>
              <a:cxnLst/>
              <a:rect l="l" t="t" r="r" b="b"/>
              <a:pathLst>
                <a:path w="21127" h="3367" extrusionOk="0">
                  <a:moveTo>
                    <a:pt x="1001" y="1"/>
                  </a:moveTo>
                  <a:cubicBezTo>
                    <a:pt x="456" y="1"/>
                    <a:pt x="1" y="433"/>
                    <a:pt x="1" y="978"/>
                  </a:cubicBezTo>
                  <a:lnTo>
                    <a:pt x="1" y="2388"/>
                  </a:lnTo>
                  <a:cubicBezTo>
                    <a:pt x="1" y="2934"/>
                    <a:pt x="456" y="3366"/>
                    <a:pt x="1001" y="3366"/>
                  </a:cubicBezTo>
                  <a:lnTo>
                    <a:pt x="20126" y="3366"/>
                  </a:lnTo>
                  <a:cubicBezTo>
                    <a:pt x="20671" y="3366"/>
                    <a:pt x="21126" y="2934"/>
                    <a:pt x="21126" y="2388"/>
                  </a:cubicBezTo>
                  <a:lnTo>
                    <a:pt x="21126" y="978"/>
                  </a:lnTo>
                  <a:cubicBezTo>
                    <a:pt x="21126" y="433"/>
                    <a:pt x="20671" y="1"/>
                    <a:pt x="20126" y="1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" name="Google Shape;917;p81">
              <a:extLst>
                <a:ext uri="{FF2B5EF4-FFF2-40B4-BE49-F238E27FC236}">
                  <a16:creationId xmlns:a16="http://schemas.microsoft.com/office/drawing/2014/main" id="{27BF606D-88C2-4B27-A626-2B2C37354322}"/>
                </a:ext>
              </a:extLst>
            </p:cNvPr>
            <p:cNvSpPr/>
            <p:nvPr/>
          </p:nvSpPr>
          <p:spPr>
            <a:xfrm>
              <a:off x="3306850" y="2676475"/>
              <a:ext cx="605475" cy="32475"/>
            </a:xfrm>
            <a:custGeom>
              <a:avLst/>
              <a:gdLst/>
              <a:ahLst/>
              <a:cxnLst/>
              <a:rect l="l" t="t" r="r" b="b"/>
              <a:pathLst>
                <a:path w="24219" h="1299" extrusionOk="0">
                  <a:moveTo>
                    <a:pt x="443" y="1"/>
                  </a:moveTo>
                  <a:cubicBezTo>
                    <a:pt x="207" y="1"/>
                    <a:pt x="2" y="219"/>
                    <a:pt x="23" y="457"/>
                  </a:cubicBezTo>
                  <a:lnTo>
                    <a:pt x="23" y="821"/>
                  </a:lnTo>
                  <a:cubicBezTo>
                    <a:pt x="0" y="1071"/>
                    <a:pt x="228" y="1299"/>
                    <a:pt x="478" y="1299"/>
                  </a:cubicBezTo>
                  <a:lnTo>
                    <a:pt x="23764" y="1299"/>
                  </a:lnTo>
                  <a:cubicBezTo>
                    <a:pt x="24014" y="1299"/>
                    <a:pt x="24219" y="1071"/>
                    <a:pt x="24219" y="821"/>
                  </a:cubicBezTo>
                  <a:lnTo>
                    <a:pt x="24219" y="457"/>
                  </a:lnTo>
                  <a:cubicBezTo>
                    <a:pt x="24219" y="207"/>
                    <a:pt x="24014" y="2"/>
                    <a:pt x="23764" y="2"/>
                  </a:cubicBezTo>
                  <a:lnTo>
                    <a:pt x="478" y="2"/>
                  </a:lnTo>
                  <a:cubicBezTo>
                    <a:pt x="466" y="1"/>
                    <a:pt x="455" y="1"/>
                    <a:pt x="443" y="1"/>
                  </a:cubicBezTo>
                  <a:close/>
                </a:path>
              </a:pathLst>
            </a:custGeom>
            <a:solidFill>
              <a:srgbClr val="363737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" name="Google Shape;918;p81">
              <a:extLst>
                <a:ext uri="{FF2B5EF4-FFF2-40B4-BE49-F238E27FC236}">
                  <a16:creationId xmlns:a16="http://schemas.microsoft.com/office/drawing/2014/main" id="{0508F90A-6D94-4678-A5D8-652492EEF867}"/>
                </a:ext>
              </a:extLst>
            </p:cNvPr>
            <p:cNvSpPr/>
            <p:nvPr/>
          </p:nvSpPr>
          <p:spPr>
            <a:xfrm>
              <a:off x="3369375" y="2317225"/>
              <a:ext cx="480975" cy="279175"/>
            </a:xfrm>
            <a:custGeom>
              <a:avLst/>
              <a:gdLst/>
              <a:ahLst/>
              <a:cxnLst/>
              <a:rect l="l" t="t" r="r" b="b"/>
              <a:pathLst>
                <a:path w="19239" h="11167" extrusionOk="0">
                  <a:moveTo>
                    <a:pt x="1" y="1"/>
                  </a:moveTo>
                  <a:lnTo>
                    <a:pt x="1" y="11166"/>
                  </a:lnTo>
                  <a:lnTo>
                    <a:pt x="19239" y="11166"/>
                  </a:lnTo>
                  <a:lnTo>
                    <a:pt x="19239" y="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" name="Google Shape;919;p81">
              <a:extLst>
                <a:ext uri="{FF2B5EF4-FFF2-40B4-BE49-F238E27FC236}">
                  <a16:creationId xmlns:a16="http://schemas.microsoft.com/office/drawing/2014/main" id="{84DD2DB5-D6B5-487F-A26C-BD682D956E36}"/>
                </a:ext>
              </a:extLst>
            </p:cNvPr>
            <p:cNvSpPr/>
            <p:nvPr/>
          </p:nvSpPr>
          <p:spPr>
            <a:xfrm>
              <a:off x="3606450" y="2301875"/>
              <a:ext cx="6275" cy="6850"/>
            </a:xfrm>
            <a:custGeom>
              <a:avLst/>
              <a:gdLst/>
              <a:ahLst/>
              <a:cxnLst/>
              <a:rect l="l" t="t" r="r" b="b"/>
              <a:pathLst>
                <a:path w="251" h="274" extrusionOk="0">
                  <a:moveTo>
                    <a:pt x="137" y="1"/>
                  </a:moveTo>
                  <a:cubicBezTo>
                    <a:pt x="46" y="1"/>
                    <a:pt x="0" y="69"/>
                    <a:pt x="0" y="137"/>
                  </a:cubicBezTo>
                  <a:cubicBezTo>
                    <a:pt x="0" y="206"/>
                    <a:pt x="46" y="274"/>
                    <a:pt x="137" y="274"/>
                  </a:cubicBezTo>
                  <a:cubicBezTo>
                    <a:pt x="205" y="274"/>
                    <a:pt x="251" y="206"/>
                    <a:pt x="251" y="137"/>
                  </a:cubicBezTo>
                  <a:cubicBezTo>
                    <a:pt x="251" y="69"/>
                    <a:pt x="205" y="1"/>
                    <a:pt x="137" y="1"/>
                  </a:cubicBezTo>
                  <a:close/>
                </a:path>
              </a:pathLst>
            </a:custGeom>
            <a:solidFill>
              <a:srgbClr val="7D7E7D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5" name="Google Shape;920;p81">
              <a:extLst>
                <a:ext uri="{FF2B5EF4-FFF2-40B4-BE49-F238E27FC236}">
                  <a16:creationId xmlns:a16="http://schemas.microsoft.com/office/drawing/2014/main" id="{39A1AA83-59C9-46E8-A4B1-C63F7D2BDEE5}"/>
                </a:ext>
              </a:extLst>
            </p:cNvPr>
            <p:cNvSpPr/>
            <p:nvPr/>
          </p:nvSpPr>
          <p:spPr>
            <a:xfrm>
              <a:off x="3346650" y="2621375"/>
              <a:ext cx="527025" cy="51775"/>
            </a:xfrm>
            <a:custGeom>
              <a:avLst/>
              <a:gdLst/>
              <a:ahLst/>
              <a:cxnLst/>
              <a:rect l="l" t="t" r="r" b="b"/>
              <a:pathLst>
                <a:path w="21081" h="2071" extrusionOk="0">
                  <a:moveTo>
                    <a:pt x="1160" y="1"/>
                  </a:moveTo>
                  <a:lnTo>
                    <a:pt x="0" y="2070"/>
                  </a:lnTo>
                  <a:lnTo>
                    <a:pt x="21080" y="2070"/>
                  </a:lnTo>
                  <a:lnTo>
                    <a:pt x="19920" y="1"/>
                  </a:lnTo>
                  <a:close/>
                </a:path>
              </a:pathLst>
            </a:custGeom>
            <a:solidFill>
              <a:srgbClr val="7D7E7D"/>
            </a:solidFill>
            <a:ln>
              <a:noFill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6" name="Google Shape;921;p81">
              <a:extLst>
                <a:ext uri="{FF2B5EF4-FFF2-40B4-BE49-F238E27FC236}">
                  <a16:creationId xmlns:a16="http://schemas.microsoft.com/office/drawing/2014/main" id="{2A158E0A-BB68-453C-899E-A27FF43F36FE}"/>
                </a:ext>
              </a:extLst>
            </p:cNvPr>
            <p:cNvSpPr/>
            <p:nvPr/>
          </p:nvSpPr>
          <p:spPr>
            <a:xfrm>
              <a:off x="3325050" y="2683350"/>
              <a:ext cx="573075" cy="25"/>
            </a:xfrm>
            <a:custGeom>
              <a:avLst/>
              <a:gdLst/>
              <a:ahLst/>
              <a:cxnLst/>
              <a:rect l="l" t="t" r="r" b="b"/>
              <a:pathLst>
                <a:path w="22923" h="1" fill="none" extrusionOk="0">
                  <a:moveTo>
                    <a:pt x="0" y="0"/>
                  </a:moveTo>
                  <a:lnTo>
                    <a:pt x="22922" y="0"/>
                  </a:lnTo>
                </a:path>
              </a:pathLst>
            </a:custGeom>
            <a:noFill/>
            <a:ln w="9525" cap="rnd" cmpd="sng">
              <a:solidFill>
                <a:srgbClr val="4B4D4E"/>
              </a:solidFill>
              <a:prstDash val="solid"/>
              <a:miter lim="22739"/>
              <a:headEnd type="none" w="sm" len="sm"/>
              <a:tailEnd type="none" w="sm" len="sm"/>
            </a:ln>
          </p:spPr>
          <p:txBody>
            <a:bodyPr spcFirstLastPara="1" wrap="square" lIns="121595" tIns="121595" rIns="121595" bIns="121595" anchor="ctr" anchorCtr="0">
              <a:noAutofit/>
            </a:bodyPr>
            <a:lstStyle/>
            <a:p>
              <a:pPr defTabSz="956195">
                <a:buClr>
                  <a:srgbClr val="000000"/>
                </a:buClr>
                <a:buSzPts val="1800"/>
              </a:pPr>
              <a:endParaRPr sz="1883" kern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364782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gray">
          <a:xfrm>
            <a:off x="2" y="2"/>
            <a:ext cx="158751" cy="158751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</p:spPr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3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258B8FE1-45A6-477C-BD25-6652F380E0AE}"/>
              </a:ext>
            </a:extLst>
          </p:cNvPr>
          <p:cNvSpPr/>
          <p:nvPr/>
        </p:nvSpPr>
        <p:spPr>
          <a:xfrm>
            <a:off x="9026832" y="5561028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7" name="Rectangle 3">
            <a:extLst>
              <a:ext uri="{FF2B5EF4-FFF2-40B4-BE49-F238E27FC236}">
                <a16:creationId xmlns:a16="http://schemas.microsoft.com/office/drawing/2014/main" id="{3BB42C43-C37E-49C2-8C37-0C3F51001A5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329325" y="5483504"/>
            <a:ext cx="1980000" cy="282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177800" indent="-177800" algn="l" rtl="0" eaLnBrk="1" fontAlgn="base" hangingPunct="1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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8650" indent="-177800" algn="l" rtl="0" eaLnBrk="1" fontAlgn="base" hangingPunct="1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060450" indent="-180975" algn="l" rtl="0" eaLnBrk="1" fontAlgn="base" hangingPunct="1">
              <a:lnSpc>
                <a:spcPct val="106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89088" indent="-195263" algn="l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05013" indent="-2365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462213" indent="-2365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919413" indent="-2365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3376613" indent="-2365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833813" indent="-2365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609570" rtl="0" eaLnBrk="1" fontAlgn="base" latinLnBrk="0" hangingPunct="1">
              <a:lnSpc>
                <a:spcPct val="150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 2" pitchFamily="18" charset="2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feranseteam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5BD1F441-F082-4A7A-8D93-20A4AA7F73F8}"/>
              </a:ext>
            </a:extLst>
          </p:cNvPr>
          <p:cNvSpPr/>
          <p:nvPr/>
        </p:nvSpPr>
        <p:spPr>
          <a:xfrm>
            <a:off x="9026832" y="6304364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3" name="Rectangle 3">
            <a:extLst>
              <a:ext uri="{FF2B5EF4-FFF2-40B4-BE49-F238E27FC236}">
                <a16:creationId xmlns:a16="http://schemas.microsoft.com/office/drawing/2014/main" id="{3722D7DD-FB2A-497D-8F69-06160227720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329326" y="6270986"/>
            <a:ext cx="1980000" cy="282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177800" indent="-177800" algn="l" rtl="0" eaLnBrk="1" fontAlgn="base" hangingPunct="1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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8650" indent="-177800" algn="l" rtl="0" eaLnBrk="1" fontAlgn="base" hangingPunct="1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060450" indent="-180975" algn="l" rtl="0" eaLnBrk="1" fontAlgn="base" hangingPunct="1">
              <a:lnSpc>
                <a:spcPct val="106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89088" indent="-195263" algn="l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05013" indent="-2365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462213" indent="-2365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919413" indent="-2365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3376613" indent="-2365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833813" indent="-2365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609570" rtl="0" eaLnBrk="1" fontAlgn="base" latinLnBrk="0" hangingPunct="1">
              <a:lnSpc>
                <a:spcPct val="150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 2" pitchFamily="18" charset="2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øsningsforslag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1D04399-0809-400D-BA96-CE4B42364C36}"/>
              </a:ext>
            </a:extLst>
          </p:cNvPr>
          <p:cNvGrpSpPr/>
          <p:nvPr/>
        </p:nvGrpSpPr>
        <p:grpSpPr>
          <a:xfrm>
            <a:off x="1532467" y="1823267"/>
            <a:ext cx="8261894" cy="3216542"/>
            <a:chOff x="642705" y="1279254"/>
            <a:chExt cx="8261894" cy="3216542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3951146F-0D7F-4D63-A297-974725CC2262}"/>
                </a:ext>
              </a:extLst>
            </p:cNvPr>
            <p:cNvGrpSpPr/>
            <p:nvPr/>
          </p:nvGrpSpPr>
          <p:grpSpPr>
            <a:xfrm>
              <a:off x="642705" y="1279254"/>
              <a:ext cx="8261894" cy="3216542"/>
              <a:chOff x="350817" y="1220501"/>
              <a:chExt cx="6196422" cy="2412407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85CAD692-7C05-4E30-B806-E42627B5EBAC}"/>
                  </a:ext>
                </a:extLst>
              </p:cNvPr>
              <p:cNvGrpSpPr/>
              <p:nvPr/>
            </p:nvGrpSpPr>
            <p:grpSpPr>
              <a:xfrm>
                <a:off x="560284" y="1220501"/>
                <a:ext cx="5986955" cy="2412407"/>
                <a:chOff x="619757" y="1279764"/>
                <a:chExt cx="5986954" cy="2412407"/>
              </a:xfrm>
            </p:grpSpPr>
            <p:sp>
              <p:nvSpPr>
                <p:cNvPr id="8" name="Rectangle 3"/>
                <p:cNvSpPr txBox="1">
                  <a:spLocks noChangeArrowheads="1"/>
                </p:cNvSpPr>
                <p:nvPr/>
              </p:nvSpPr>
              <p:spPr bwMode="gray">
                <a:xfrm>
                  <a:off x="619757" y="1659530"/>
                  <a:ext cx="2453150" cy="203264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>
                  <a:lvl1pPr marL="177800" indent="-177800" algn="l" rtl="0" eaLnBrk="1" fontAlgn="base" hangingPunct="1">
                    <a:lnSpc>
                      <a:spcPct val="106000"/>
                    </a:lnSpc>
                    <a:spcBef>
                      <a:spcPct val="8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 2" pitchFamily="18" charset="2"/>
                    <a:buChar char=""/>
                    <a:defRPr sz="1600">
                      <a:solidFill>
                        <a:schemeClr val="tx1"/>
                      </a:solidFill>
                      <a:latin typeface="Arial" pitchFamily="34" charset="0"/>
                      <a:ea typeface="+mn-ea"/>
                      <a:cs typeface="Arial" pitchFamily="34" charset="0"/>
                    </a:defRPr>
                  </a:lvl1pPr>
                  <a:lvl2pPr marL="628650" indent="-177800" algn="l" rtl="0" eaLnBrk="1" fontAlgn="base" hangingPunct="1">
                    <a:lnSpc>
                      <a:spcPct val="106000"/>
                    </a:lnSpc>
                    <a:spcBef>
                      <a:spcPct val="8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Arial" charset="0"/>
                    <a:buChar char="–"/>
                    <a:defRPr sz="14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1060450" indent="-180975" algn="l" rtl="0" eaLnBrk="1" fontAlgn="base" hangingPunct="1">
                    <a:lnSpc>
                      <a:spcPct val="106000"/>
                    </a:lnSpc>
                    <a:spcBef>
                      <a:spcPct val="4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4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589088" indent="-195263" algn="l" rtl="0" eaLnBrk="1" fontAlgn="base" hangingPunct="1">
                    <a:lnSpc>
                      <a:spcPct val="110000"/>
                    </a:lnSpc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Arial" charset="0"/>
                    <a:buChar char="–"/>
                    <a:defRPr sz="14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05013" indent="-236538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4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462213" indent="-236538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200">
                      <a:solidFill>
                        <a:schemeClr val="tx1"/>
                      </a:solidFill>
                      <a:latin typeface="+mn-lt"/>
                    </a:defRPr>
                  </a:lvl6pPr>
                  <a:lvl7pPr marL="2919413" indent="-236538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200">
                      <a:solidFill>
                        <a:schemeClr val="tx1"/>
                      </a:solidFill>
                      <a:latin typeface="+mn-lt"/>
                    </a:defRPr>
                  </a:lvl7pPr>
                  <a:lvl8pPr marL="3376613" indent="-236538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200">
                      <a:solidFill>
                        <a:schemeClr val="tx1"/>
                      </a:solidFill>
                      <a:latin typeface="+mn-lt"/>
                    </a:defRPr>
                  </a:lvl8pPr>
                  <a:lvl9pPr marL="3833813" indent="-236538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200">
                      <a:solidFill>
                        <a:schemeClr val="tx1"/>
                      </a:solidFill>
                      <a:latin typeface="+mn-lt"/>
                    </a:defRPr>
                  </a:lvl9pPr>
                </a:lstStyle>
                <a:p>
                  <a:pPr marL="0" marR="0" lvl="0" indent="0" algn="r" defTabSz="609570" rtl="0" eaLnBrk="1" fontAlgn="base" latinLnBrk="0" hangingPunct="1">
                    <a:lnSpc>
                      <a:spcPct val="150000"/>
                    </a:lnSpc>
                    <a:spcBef>
                      <a:spcPct val="80000"/>
                    </a:spcBef>
                    <a:spcAft>
                      <a:spcPct val="0"/>
                    </a:spcAft>
                    <a:buClr>
                      <a:srgbClr val="000000"/>
                    </a:buClr>
                    <a:buSzTx/>
                    <a:buFont typeface="Wingdings 2" pitchFamily="18" charset="2"/>
                    <a:buNone/>
                    <a:tabLst/>
                    <a:defRPr/>
                  </a:pPr>
                  <a:r>
                    <a:rPr kumimoji="0" lang="nb-NO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Lokale retningslinjer per enhet</a:t>
                  </a:r>
                </a:p>
                <a:p>
                  <a:pPr marL="0" marR="0" lvl="0" indent="0" algn="r" defTabSz="609570" rtl="0" eaLnBrk="1" fontAlgn="base" latinLnBrk="0" hangingPunct="1">
                    <a:lnSpc>
                      <a:spcPct val="150000"/>
                    </a:lnSpc>
                    <a:spcBef>
                      <a:spcPct val="80000"/>
                    </a:spcBef>
                    <a:spcAft>
                      <a:spcPct val="0"/>
                    </a:spcAft>
                    <a:buClr>
                      <a:srgbClr val="000000"/>
                    </a:buClr>
                    <a:buSzTx/>
                    <a:buFont typeface="Wingdings 2" pitchFamily="18" charset="2"/>
                    <a:buNone/>
                    <a:tabLst/>
                    <a:defRPr/>
                  </a:pPr>
                  <a:r>
                    <a:rPr kumimoji="0" lang="nb-NO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itchFamily="34" charset="0"/>
                    </a:rPr>
                    <a:t>At rollen tilhører lokal enhet</a:t>
                  </a:r>
                </a:p>
                <a:p>
                  <a:pPr marL="0" marR="0" lvl="0" indent="0" algn="r" defTabSz="609570" rtl="0" eaLnBrk="1" fontAlgn="base" latinLnBrk="0" hangingPunct="1">
                    <a:lnSpc>
                      <a:spcPct val="150000"/>
                    </a:lnSpc>
                    <a:spcBef>
                      <a:spcPct val="80000"/>
                    </a:spcBef>
                    <a:spcAft>
                      <a:spcPct val="0"/>
                    </a:spcAft>
                    <a:buClr>
                      <a:srgbClr val="000000"/>
                    </a:buClr>
                    <a:buSzTx/>
                    <a:buFont typeface="Wingdings 2" pitchFamily="18" charset="2"/>
                    <a:buNone/>
                    <a:tabLst/>
                    <a:defRPr/>
                  </a:pPr>
                  <a:r>
                    <a:rPr kumimoji="0" lang="nb-NO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itchFamily="34" charset="0"/>
                    </a:rPr>
                    <a:t>Dedikert tid til andre oppgaver</a:t>
                  </a:r>
                </a:p>
                <a:p>
                  <a:pPr marL="0" marR="0" lvl="0" indent="0" algn="r" defTabSz="609570" rtl="0" eaLnBrk="1" fontAlgn="base" latinLnBrk="0" hangingPunct="1">
                    <a:lnSpc>
                      <a:spcPct val="150000"/>
                    </a:lnSpc>
                    <a:spcBef>
                      <a:spcPct val="80000"/>
                    </a:spcBef>
                    <a:spcAft>
                      <a:spcPct val="0"/>
                    </a:spcAft>
                    <a:buClr>
                      <a:srgbClr val="000000"/>
                    </a:buClr>
                    <a:buSzTx/>
                    <a:buFont typeface="Wingdings 2" pitchFamily="18" charset="2"/>
                    <a:buNone/>
                    <a:tabLst/>
                    <a:defRPr/>
                  </a:pPr>
                  <a:r>
                    <a:rPr kumimoji="0" lang="nb-NO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itchFamily="34" charset="0"/>
                    </a:rPr>
                    <a:t>Dekning for oppgavene ved fravær</a:t>
                  </a:r>
                </a:p>
                <a:p>
                  <a:pPr marL="0" marR="0" lvl="0" indent="0" algn="r" defTabSz="609570" rtl="0" eaLnBrk="1" fontAlgn="base" latinLnBrk="0" hangingPunct="1">
                    <a:lnSpc>
                      <a:spcPct val="150000"/>
                    </a:lnSpc>
                    <a:spcBef>
                      <a:spcPct val="80000"/>
                    </a:spcBef>
                    <a:spcAft>
                      <a:spcPct val="0"/>
                    </a:spcAft>
                    <a:buClr>
                      <a:srgbClr val="000000"/>
                    </a:buClr>
                    <a:buSzTx/>
                    <a:buFont typeface="Wingdings 2" pitchFamily="18" charset="2"/>
                    <a:buNone/>
                    <a:tabLst/>
                    <a:defRPr/>
                  </a:pPr>
                  <a:r>
                    <a:rPr kumimoji="0" lang="nb-NO" sz="16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Arial" panose="020B0604020202020204"/>
                      <a:ea typeface="+mn-ea"/>
                      <a:cs typeface="Arial" pitchFamily="34" charset="0"/>
                    </a:rPr>
                    <a:t>Et sterkt fagmiljø</a:t>
                  </a:r>
                </a:p>
              </p:txBody>
            </p:sp>
            <p:sp>
              <p:nvSpPr>
                <p:cNvPr id="13" name="Line 17"/>
                <p:cNvSpPr>
                  <a:spLocks noChangeShapeType="1"/>
                </p:cNvSpPr>
                <p:nvPr/>
              </p:nvSpPr>
              <p:spPr bwMode="auto">
                <a:xfrm>
                  <a:off x="3200242" y="1815487"/>
                  <a:ext cx="2962697" cy="0"/>
                </a:xfrm>
                <a:prstGeom prst="line">
                  <a:avLst/>
                </a:pr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round/>
                  <a:headEnd type="triangle" w="med" len="med"/>
                  <a:tailEnd type="triangle" w="med" len="med"/>
                </a:ln>
              </p:spPr>
              <p:txBody>
                <a:bodyPr wrap="none" lIns="36000" tIns="36000" rIns="36000" bIns="36000" anchor="ctr"/>
                <a:lstStyle/>
                <a:p>
                  <a:pPr marL="0" marR="0" lvl="0" indent="0" algn="ctr" defTabSz="914354" rtl="0" eaLnBrk="0" fontAlgn="base" latinLnBrk="0" hangingPunct="0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Line 43"/>
                <p:cNvSpPr>
                  <a:spLocks noChangeShapeType="1"/>
                </p:cNvSpPr>
                <p:nvPr/>
              </p:nvSpPr>
              <p:spPr bwMode="auto">
                <a:xfrm>
                  <a:off x="3200242" y="2225957"/>
                  <a:ext cx="2962697" cy="0"/>
                </a:xfrm>
                <a:prstGeom prst="line">
                  <a:avLst/>
                </a:pr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round/>
                  <a:headEnd type="triangle" w="med" len="med"/>
                  <a:tailEnd type="triangle" w="med" len="med"/>
                </a:ln>
              </p:spPr>
              <p:txBody>
                <a:bodyPr wrap="none" lIns="36000" tIns="36000" rIns="36000" bIns="36000" anchor="ctr"/>
                <a:lstStyle/>
                <a:p>
                  <a:pPr marL="0" marR="0" lvl="0" indent="0" algn="ctr" defTabSz="914354" rtl="0" eaLnBrk="0" fontAlgn="base" latinLnBrk="0" hangingPunct="0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Line 47"/>
                <p:cNvSpPr>
                  <a:spLocks noChangeShapeType="1"/>
                </p:cNvSpPr>
                <p:nvPr/>
              </p:nvSpPr>
              <p:spPr bwMode="auto">
                <a:xfrm>
                  <a:off x="3200242" y="3106146"/>
                  <a:ext cx="2962697" cy="0"/>
                </a:xfrm>
                <a:prstGeom prst="line">
                  <a:avLst/>
                </a:pr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round/>
                  <a:headEnd type="triangle" w="med" len="med"/>
                  <a:tailEnd type="triangle" w="med" len="med"/>
                </a:ln>
              </p:spPr>
              <p:txBody>
                <a:bodyPr wrap="none" lIns="36000" tIns="36000" rIns="36000" bIns="36000" anchor="ctr"/>
                <a:lstStyle/>
                <a:p>
                  <a:pPr marL="0" marR="0" lvl="0" indent="0" algn="ctr" defTabSz="914354" rtl="0" eaLnBrk="0" fontAlgn="base" latinLnBrk="0" hangingPunct="0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9" name="Line 48"/>
                <p:cNvSpPr>
                  <a:spLocks noChangeShapeType="1"/>
                </p:cNvSpPr>
                <p:nvPr/>
              </p:nvSpPr>
              <p:spPr bwMode="auto">
                <a:xfrm>
                  <a:off x="3200242" y="3504507"/>
                  <a:ext cx="2962697" cy="0"/>
                </a:xfrm>
                <a:prstGeom prst="line">
                  <a:avLst/>
                </a:pr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round/>
                  <a:headEnd type="triangle" w="med" len="med"/>
                  <a:tailEnd type="triangle" w="med" len="med"/>
                </a:ln>
              </p:spPr>
              <p:txBody>
                <a:bodyPr wrap="none" lIns="36000" tIns="36000" rIns="36000" bIns="36000" anchor="ctr"/>
                <a:lstStyle/>
                <a:p>
                  <a:pPr marL="0" marR="0" lvl="0" indent="0" algn="ctr" defTabSz="914354" rtl="0" eaLnBrk="0" fontAlgn="base" latinLnBrk="0" hangingPunct="0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Line 43">
                  <a:extLst>
                    <a:ext uri="{FF2B5EF4-FFF2-40B4-BE49-F238E27FC236}">
                      <a16:creationId xmlns:a16="http://schemas.microsoft.com/office/drawing/2014/main" id="{F77FAA9C-613B-4C8A-ADBB-FB7E3DFD6DC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200242" y="2656915"/>
                  <a:ext cx="2962697" cy="0"/>
                </a:xfrm>
                <a:prstGeom prst="line">
                  <a:avLst/>
                </a:prstGeom>
                <a:noFill/>
                <a:ln w="19050">
                  <a:solidFill>
                    <a:schemeClr val="bg1">
                      <a:lumMod val="50000"/>
                    </a:schemeClr>
                  </a:solidFill>
                  <a:round/>
                  <a:headEnd type="triangle" w="med" len="med"/>
                  <a:tailEnd type="triangle" w="med" len="med"/>
                </a:ln>
              </p:spPr>
              <p:txBody>
                <a:bodyPr wrap="none" lIns="36000" tIns="36000" rIns="36000" bIns="36000" anchor="ctr"/>
                <a:lstStyle/>
                <a:p>
                  <a:pPr marL="0" marR="0" lvl="0" indent="0" algn="ctr" defTabSz="914354" rtl="0" eaLnBrk="0" fontAlgn="base" latinLnBrk="0" hangingPunct="0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2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Rectangle 3">
                  <a:extLst>
                    <a:ext uri="{FF2B5EF4-FFF2-40B4-BE49-F238E27FC236}">
                      <a16:creationId xmlns:a16="http://schemas.microsoft.com/office/drawing/2014/main" id="{EDDDF28D-9835-403B-852A-147F590E3F2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5786537" y="1279764"/>
                  <a:ext cx="820174" cy="25400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>
                  <a:lvl1pPr marL="177800" indent="-177800" algn="l" rtl="0" eaLnBrk="1" fontAlgn="base" hangingPunct="1">
                    <a:lnSpc>
                      <a:spcPct val="106000"/>
                    </a:lnSpc>
                    <a:spcBef>
                      <a:spcPct val="8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 2" pitchFamily="18" charset="2"/>
                    <a:buChar char=""/>
                    <a:defRPr sz="1600">
                      <a:solidFill>
                        <a:schemeClr val="tx1"/>
                      </a:solidFill>
                      <a:latin typeface="Arial" pitchFamily="34" charset="0"/>
                      <a:ea typeface="+mn-ea"/>
                      <a:cs typeface="Arial" pitchFamily="34" charset="0"/>
                    </a:defRPr>
                  </a:lvl1pPr>
                  <a:lvl2pPr marL="628650" indent="-177800" algn="l" rtl="0" eaLnBrk="1" fontAlgn="base" hangingPunct="1">
                    <a:lnSpc>
                      <a:spcPct val="106000"/>
                    </a:lnSpc>
                    <a:spcBef>
                      <a:spcPct val="8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Arial" charset="0"/>
                    <a:buChar char="–"/>
                    <a:defRPr sz="14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1060450" indent="-180975" algn="l" rtl="0" eaLnBrk="1" fontAlgn="base" hangingPunct="1">
                    <a:lnSpc>
                      <a:spcPct val="106000"/>
                    </a:lnSpc>
                    <a:spcBef>
                      <a:spcPct val="4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4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589088" indent="-195263" algn="l" rtl="0" eaLnBrk="1" fontAlgn="base" hangingPunct="1">
                    <a:lnSpc>
                      <a:spcPct val="110000"/>
                    </a:lnSpc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Arial" charset="0"/>
                    <a:buChar char="–"/>
                    <a:defRPr sz="14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05013" indent="-236538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4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462213" indent="-236538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200">
                      <a:solidFill>
                        <a:schemeClr val="tx1"/>
                      </a:solidFill>
                      <a:latin typeface="+mn-lt"/>
                    </a:defRPr>
                  </a:lvl6pPr>
                  <a:lvl7pPr marL="2919413" indent="-236538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200">
                      <a:solidFill>
                        <a:schemeClr val="tx1"/>
                      </a:solidFill>
                      <a:latin typeface="+mn-lt"/>
                    </a:defRPr>
                  </a:lvl7pPr>
                  <a:lvl8pPr marL="3376613" indent="-236538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200">
                      <a:solidFill>
                        <a:schemeClr val="tx1"/>
                      </a:solidFill>
                      <a:latin typeface="+mn-lt"/>
                    </a:defRPr>
                  </a:lvl8pPr>
                  <a:lvl9pPr marL="3833813" indent="-236538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200">
                      <a:solidFill>
                        <a:schemeClr val="tx1"/>
                      </a:solidFill>
                      <a:latin typeface="+mn-lt"/>
                    </a:defRPr>
                  </a:lvl9pPr>
                </a:lstStyle>
                <a:p>
                  <a:pPr marL="0" marR="0" lvl="0" indent="0" algn="ctr" defTabSz="609570" rtl="0" eaLnBrk="1" fontAlgn="base" latinLnBrk="0" hangingPunct="1">
                    <a:lnSpc>
                      <a:spcPct val="150000"/>
                    </a:lnSpc>
                    <a:spcBef>
                      <a:spcPct val="80000"/>
                    </a:spcBef>
                    <a:spcAft>
                      <a:spcPct val="0"/>
                    </a:spcAft>
                    <a:buClr>
                      <a:srgbClr val="000000"/>
                    </a:buClr>
                    <a:buSzTx/>
                    <a:buFont typeface="Wingdings 2" pitchFamily="18" charset="2"/>
                    <a:buNone/>
                    <a:tabLst/>
                    <a:defRPr/>
                  </a:pPr>
                  <a:r>
                    <a:rPr kumimoji="0" lang="nb-NO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Stor grad</a:t>
                  </a:r>
                </a:p>
              </p:txBody>
            </p:sp>
            <p:sp>
              <p:nvSpPr>
                <p:cNvPr id="50" name="Rectangle 3">
                  <a:extLst>
                    <a:ext uri="{FF2B5EF4-FFF2-40B4-BE49-F238E27FC236}">
                      <a16:creationId xmlns:a16="http://schemas.microsoft.com/office/drawing/2014/main" id="{0646B217-CB13-4C93-8B30-67172C025AC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gray">
                <a:xfrm>
                  <a:off x="2726488" y="1279765"/>
                  <a:ext cx="820174" cy="25400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0" tIns="0" rIns="0" bIns="0" numCol="1" anchor="t" anchorCtr="0" compatLnSpc="1">
                  <a:prstTxWarp prst="textNoShape">
                    <a:avLst/>
                  </a:prstTxWarp>
                </a:bodyPr>
                <a:lstStyle>
                  <a:lvl1pPr marL="177800" indent="-177800" algn="l" rtl="0" eaLnBrk="1" fontAlgn="base" hangingPunct="1">
                    <a:lnSpc>
                      <a:spcPct val="106000"/>
                    </a:lnSpc>
                    <a:spcBef>
                      <a:spcPct val="8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 2" pitchFamily="18" charset="2"/>
                    <a:buChar char=""/>
                    <a:defRPr sz="1600">
                      <a:solidFill>
                        <a:schemeClr val="tx1"/>
                      </a:solidFill>
                      <a:latin typeface="Arial" pitchFamily="34" charset="0"/>
                      <a:ea typeface="+mn-ea"/>
                      <a:cs typeface="Arial" pitchFamily="34" charset="0"/>
                    </a:defRPr>
                  </a:lvl1pPr>
                  <a:lvl2pPr marL="628650" indent="-177800" algn="l" rtl="0" eaLnBrk="1" fontAlgn="base" hangingPunct="1">
                    <a:lnSpc>
                      <a:spcPct val="106000"/>
                    </a:lnSpc>
                    <a:spcBef>
                      <a:spcPct val="8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Arial" charset="0"/>
                    <a:buChar char="–"/>
                    <a:defRPr sz="14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1060450" indent="-180975" algn="l" rtl="0" eaLnBrk="1" fontAlgn="base" hangingPunct="1">
                    <a:lnSpc>
                      <a:spcPct val="106000"/>
                    </a:lnSpc>
                    <a:spcBef>
                      <a:spcPct val="4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4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589088" indent="-195263" algn="l" rtl="0" eaLnBrk="1" fontAlgn="base" hangingPunct="1">
                    <a:lnSpc>
                      <a:spcPct val="110000"/>
                    </a:lnSpc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Arial" charset="0"/>
                    <a:buChar char="–"/>
                    <a:defRPr sz="14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05013" indent="-236538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400"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462213" indent="-236538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200">
                      <a:solidFill>
                        <a:schemeClr val="tx1"/>
                      </a:solidFill>
                      <a:latin typeface="+mn-lt"/>
                    </a:defRPr>
                  </a:lvl6pPr>
                  <a:lvl7pPr marL="2919413" indent="-236538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200">
                      <a:solidFill>
                        <a:schemeClr val="tx1"/>
                      </a:solidFill>
                      <a:latin typeface="+mn-lt"/>
                    </a:defRPr>
                  </a:lvl7pPr>
                  <a:lvl8pPr marL="3376613" indent="-236538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200">
                      <a:solidFill>
                        <a:schemeClr val="tx1"/>
                      </a:solidFill>
                      <a:latin typeface="+mn-lt"/>
                    </a:defRPr>
                  </a:lvl8pPr>
                  <a:lvl9pPr marL="3833813" indent="-236538" algn="l" rtl="0" eaLnBrk="1" fontAlgn="base" hangingPunct="1">
                    <a:spcBef>
                      <a:spcPct val="20000"/>
                    </a:spcBef>
                    <a:spcAft>
                      <a:spcPct val="0"/>
                    </a:spcAft>
                    <a:buClr>
                      <a:schemeClr val="tx1"/>
                    </a:buClr>
                    <a:buFont typeface="Wingdings" pitchFamily="2" charset="2"/>
                    <a:buChar char="§"/>
                    <a:defRPr sz="1200">
                      <a:solidFill>
                        <a:schemeClr val="tx1"/>
                      </a:solidFill>
                      <a:latin typeface="+mn-lt"/>
                    </a:defRPr>
                  </a:lvl9pPr>
                </a:lstStyle>
                <a:p>
                  <a:pPr marL="0" marR="0" lvl="0" indent="0" algn="ctr" defTabSz="609570" rtl="0" eaLnBrk="1" fontAlgn="base" latinLnBrk="0" hangingPunct="1">
                    <a:lnSpc>
                      <a:spcPct val="150000"/>
                    </a:lnSpc>
                    <a:spcBef>
                      <a:spcPct val="80000"/>
                    </a:spcBef>
                    <a:spcAft>
                      <a:spcPct val="0"/>
                    </a:spcAft>
                    <a:buClr>
                      <a:srgbClr val="000000"/>
                    </a:buClr>
                    <a:buSzTx/>
                    <a:buFont typeface="Wingdings 2" pitchFamily="18" charset="2"/>
                    <a:buNone/>
                    <a:tabLst/>
                    <a:defRPr/>
                  </a:pPr>
                  <a:r>
                    <a:rPr kumimoji="0" lang="nb-NO" sz="16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Arial" pitchFamily="34" charset="0"/>
                      <a:ea typeface="+mn-ea"/>
                      <a:cs typeface="Arial" pitchFamily="34" charset="0"/>
                    </a:rPr>
                    <a:t>Liten grad</a:t>
                  </a:r>
                </a:p>
              </p:txBody>
            </p:sp>
          </p:grp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7B33F4AD-622F-444E-9CB8-4D5F8271B4F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350817" y="1595018"/>
                <a:ext cx="134731" cy="195346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/>
              <a:lstStyle/>
              <a:p>
                <a:pPr marL="304784" marR="0" lvl="0" indent="-304784" algn="l" defTabSz="609570" rtl="0" eaLnBrk="1" fontAlgn="base" latinLnBrk="0" hangingPunct="1">
                  <a:lnSpc>
                    <a:spcPct val="150000"/>
                  </a:lnSpc>
                  <a:spcBef>
                    <a:spcPct val="8000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+mj-lt"/>
                  <a:buAutoNum type="arabicParenR"/>
                  <a:tabLst/>
                  <a:defRPr/>
                </a:pPr>
                <a:r>
                  <a:rPr kumimoji="0" lang="nb-NO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304784" marR="0" lvl="0" indent="-304784" algn="l" defTabSz="609570" rtl="0" eaLnBrk="1" fontAlgn="base" latinLnBrk="0" hangingPunct="1">
                  <a:lnSpc>
                    <a:spcPct val="150000"/>
                  </a:lnSpc>
                  <a:spcBef>
                    <a:spcPct val="8000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+mj-lt"/>
                  <a:buAutoNum type="arabicParenR"/>
                  <a:tabLst/>
                  <a:defRPr/>
                </a:pPr>
                <a:r>
                  <a:rPr kumimoji="0" lang="nb-NO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304784" marR="0" lvl="0" indent="-304784" algn="l" defTabSz="609570" rtl="0" eaLnBrk="1" fontAlgn="base" latinLnBrk="0" hangingPunct="1">
                  <a:lnSpc>
                    <a:spcPct val="150000"/>
                  </a:lnSpc>
                  <a:spcBef>
                    <a:spcPct val="8000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+mj-lt"/>
                  <a:buAutoNum type="arabicParenR"/>
                  <a:tabLst/>
                  <a:defRPr/>
                </a:pPr>
                <a:r>
                  <a:rPr kumimoji="0" lang="nb-NO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304784" marR="0" lvl="0" indent="-304784" algn="l" defTabSz="609570" rtl="0" eaLnBrk="1" fontAlgn="base" latinLnBrk="0" hangingPunct="1">
                  <a:lnSpc>
                    <a:spcPct val="150000"/>
                  </a:lnSpc>
                  <a:spcBef>
                    <a:spcPct val="8000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+mj-lt"/>
                  <a:buAutoNum type="arabicParenR"/>
                  <a:tabLst/>
                  <a:defRPr/>
                </a:pPr>
                <a:r>
                  <a:rPr kumimoji="0" lang="nb-NO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</a:t>
                </a:r>
              </a:p>
              <a:p>
                <a:pPr marL="304784" marR="0" lvl="0" indent="-304784" algn="l" defTabSz="609570" rtl="0" eaLnBrk="1" fontAlgn="base" latinLnBrk="0" hangingPunct="1">
                  <a:lnSpc>
                    <a:spcPct val="150000"/>
                  </a:lnSpc>
                  <a:spcBef>
                    <a:spcPct val="80000"/>
                  </a:spcBef>
                  <a:spcAft>
                    <a:spcPct val="0"/>
                  </a:spcAft>
                  <a:buClr>
                    <a:srgbClr val="000000"/>
                  </a:buClr>
                  <a:buSzTx/>
                  <a:buFont typeface="+mj-lt"/>
                  <a:buAutoNum type="arabicParenR"/>
                  <a:tabLst/>
                  <a:defRPr/>
                </a:pPr>
                <a:r>
                  <a:rPr kumimoji="0" lang="nb-NO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   </a:t>
                </a:r>
              </a:p>
            </p:txBody>
          </p:sp>
        </p:grp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40B3BE3E-7806-49A2-B714-BBDB6578995B}"/>
                </a:ext>
              </a:extLst>
            </p:cNvPr>
            <p:cNvSpPr/>
            <p:nvPr/>
          </p:nvSpPr>
          <p:spPr>
            <a:xfrm>
              <a:off x="5574485" y="2997565"/>
              <a:ext cx="216000" cy="216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7621CB14-286F-4411-BC10-C9B3C5F355E9}"/>
                </a:ext>
              </a:extLst>
            </p:cNvPr>
            <p:cNvSpPr/>
            <p:nvPr/>
          </p:nvSpPr>
          <p:spPr>
            <a:xfrm>
              <a:off x="5201290" y="2418430"/>
              <a:ext cx="216000" cy="216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AE2AED09-3E3A-4DA6-951B-9259D496074E}"/>
                </a:ext>
              </a:extLst>
            </p:cNvPr>
            <p:cNvSpPr/>
            <p:nvPr/>
          </p:nvSpPr>
          <p:spPr>
            <a:xfrm>
              <a:off x="4798649" y="1881657"/>
              <a:ext cx="216000" cy="2160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39" name="Oval 38">
            <a:extLst>
              <a:ext uri="{FF2B5EF4-FFF2-40B4-BE49-F238E27FC236}">
                <a16:creationId xmlns:a16="http://schemas.microsoft.com/office/drawing/2014/main" id="{932DEA48-58EC-4841-839F-AB30EB141A59}"/>
              </a:ext>
            </a:extLst>
          </p:cNvPr>
          <p:cNvSpPr/>
          <p:nvPr/>
        </p:nvSpPr>
        <p:spPr>
          <a:xfrm>
            <a:off x="9026832" y="5926444"/>
            <a:ext cx="216000" cy="21600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Rectangle 3">
            <a:extLst>
              <a:ext uri="{FF2B5EF4-FFF2-40B4-BE49-F238E27FC236}">
                <a16:creationId xmlns:a16="http://schemas.microsoft.com/office/drawing/2014/main" id="{0B2DEED9-232E-4596-B655-95C5DD7C6E5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329326" y="5877245"/>
            <a:ext cx="2379850" cy="282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177800" indent="-177800" algn="l" rtl="0" eaLnBrk="1" fontAlgn="base" hangingPunct="1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chemeClr val="tx1"/>
              </a:buClr>
              <a:buFont typeface="Wingdings 2" pitchFamily="18" charset="2"/>
              <a:buChar char="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8650" indent="-177800" algn="l" rtl="0" eaLnBrk="1" fontAlgn="base" hangingPunct="1">
              <a:lnSpc>
                <a:spcPct val="106000"/>
              </a:lnSpc>
              <a:spcBef>
                <a:spcPct val="8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060450" indent="-180975" algn="l" rtl="0" eaLnBrk="1" fontAlgn="base" hangingPunct="1">
              <a:lnSpc>
                <a:spcPct val="106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589088" indent="-195263" algn="l" rtl="0" eaLnBrk="1" fontAlgn="base" hangingPunct="1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charset="0"/>
              <a:buChar char="–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05013" indent="-2365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462213" indent="-2365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919413" indent="-2365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3376613" indent="-2365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833813" indent="-2365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609570" rtl="0" eaLnBrk="1" fontAlgn="base" latinLnBrk="0" hangingPunct="1">
              <a:lnSpc>
                <a:spcPct val="150000"/>
              </a:lnSpc>
              <a:spcBef>
                <a:spcPct val="80000"/>
              </a:spcBef>
              <a:spcAft>
                <a:spcPct val="0"/>
              </a:spcAft>
              <a:buClr>
                <a:srgbClr val="000000"/>
              </a:buClr>
              <a:buSzTx/>
              <a:buFont typeface="Wingdings 2" pitchFamily="18" charset="2"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OTT retningslinjer/anbefalinger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FD72974F-3BD5-4589-89D5-17B2254A7908}"/>
              </a:ext>
            </a:extLst>
          </p:cNvPr>
          <p:cNvSpPr/>
          <p:nvPr/>
        </p:nvSpPr>
        <p:spPr>
          <a:xfrm>
            <a:off x="5433677" y="2425670"/>
            <a:ext cx="216000" cy="21600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2480B56A-E756-4A4A-8AD2-C629BF125EF2}"/>
              </a:ext>
            </a:extLst>
          </p:cNvPr>
          <p:cNvSpPr/>
          <p:nvPr/>
        </p:nvSpPr>
        <p:spPr>
          <a:xfrm>
            <a:off x="8592795" y="4681594"/>
            <a:ext cx="216000" cy="216000"/>
          </a:xfrm>
          <a:prstGeom prst="ellipse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089DE722-08DF-4BE8-A7CA-95E94E25CB64}"/>
              </a:ext>
            </a:extLst>
          </p:cNvPr>
          <p:cNvCxnSpPr/>
          <p:nvPr/>
        </p:nvCxnSpPr>
        <p:spPr>
          <a:xfrm>
            <a:off x="7307108" y="3553189"/>
            <a:ext cx="0" cy="21600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E45FF6E3-A295-4553-8DF2-7666D5613143}"/>
              </a:ext>
            </a:extLst>
          </p:cNvPr>
          <p:cNvCxnSpPr/>
          <p:nvPr/>
        </p:nvCxnSpPr>
        <p:spPr>
          <a:xfrm>
            <a:off x="5355579" y="3537524"/>
            <a:ext cx="0" cy="216000"/>
          </a:xfrm>
          <a:prstGeom prst="line">
            <a:avLst/>
          </a:prstGeom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Title 1">
            <a:extLst>
              <a:ext uri="{FF2B5EF4-FFF2-40B4-BE49-F238E27FC236}">
                <a16:creationId xmlns:a16="http://schemas.microsoft.com/office/drawing/2014/main" id="{403A2079-1AB2-4D7E-9A9D-B13AAD9B25BA}"/>
              </a:ext>
            </a:extLst>
          </p:cNvPr>
          <p:cNvSpPr txBox="1">
            <a:spLocks/>
          </p:cNvSpPr>
          <p:nvPr/>
        </p:nvSpPr>
        <p:spPr>
          <a:xfrm>
            <a:off x="1532467" y="770312"/>
            <a:ext cx="7877863" cy="49244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Løsningsforslag Lønn og Lønnsnær HR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17BF795F-9B3D-45B5-9DC8-265F648E23FC}"/>
              </a:ext>
            </a:extLst>
          </p:cNvPr>
          <p:cNvSpPr/>
          <p:nvPr/>
        </p:nvSpPr>
        <p:spPr>
          <a:xfrm>
            <a:off x="8230249" y="4681594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64F53500-5B39-4C0D-8B94-FB9B5416AA5E}"/>
              </a:ext>
            </a:extLst>
          </p:cNvPr>
          <p:cNvSpPr/>
          <p:nvPr/>
        </p:nvSpPr>
        <p:spPr>
          <a:xfrm>
            <a:off x="8403745" y="4140494"/>
            <a:ext cx="216000" cy="216000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EFEC16BF-9D44-4D12-9C99-246E15F46FE0}"/>
              </a:ext>
            </a:extLst>
          </p:cNvPr>
          <p:cNvSpPr/>
          <p:nvPr/>
        </p:nvSpPr>
        <p:spPr>
          <a:xfrm>
            <a:off x="8810832" y="4677994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3" name="Oval 72">
            <a:extLst>
              <a:ext uri="{FF2B5EF4-FFF2-40B4-BE49-F238E27FC236}">
                <a16:creationId xmlns:a16="http://schemas.microsoft.com/office/drawing/2014/main" id="{0ABC73DC-0121-429B-BEAB-0F5E1FBB7710}"/>
              </a:ext>
            </a:extLst>
          </p:cNvPr>
          <p:cNvSpPr/>
          <p:nvPr/>
        </p:nvSpPr>
        <p:spPr>
          <a:xfrm>
            <a:off x="8833925" y="4136894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0D6DEF01-464F-4E1C-A1B9-EA1182E52287}"/>
              </a:ext>
            </a:extLst>
          </p:cNvPr>
          <p:cNvSpPr/>
          <p:nvPr/>
        </p:nvSpPr>
        <p:spPr>
          <a:xfrm>
            <a:off x="5538440" y="2982532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9A99996E-AD95-41D5-A55A-DE9B43268FDB}"/>
              </a:ext>
            </a:extLst>
          </p:cNvPr>
          <p:cNvSpPr/>
          <p:nvPr/>
        </p:nvSpPr>
        <p:spPr>
          <a:xfrm>
            <a:off x="5561044" y="2425670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76897E16-66BC-4111-9C84-782C16D92C9B}"/>
              </a:ext>
            </a:extLst>
          </p:cNvPr>
          <p:cNvSpPr/>
          <p:nvPr/>
        </p:nvSpPr>
        <p:spPr>
          <a:xfrm>
            <a:off x="5774611" y="3545985"/>
            <a:ext cx="216000" cy="216000"/>
          </a:xfrm>
          <a:prstGeom prst="ellipse">
            <a:avLst/>
          </a:prstGeom>
          <a:solidFill>
            <a:schemeClr val="accent4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2" name="Title 1">
            <a:extLst>
              <a:ext uri="{FF2B5EF4-FFF2-40B4-BE49-F238E27FC236}">
                <a16:creationId xmlns:a16="http://schemas.microsoft.com/office/drawing/2014/main" id="{F1330C04-7B75-4E7B-BA10-D92CB5995C07}"/>
              </a:ext>
            </a:extLst>
          </p:cNvPr>
          <p:cNvSpPr txBox="1">
            <a:spLocks/>
          </p:cNvSpPr>
          <p:nvPr/>
        </p:nvSpPr>
        <p:spPr>
          <a:xfrm>
            <a:off x="1451462" y="5313545"/>
            <a:ext cx="7877863" cy="161583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32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05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</a:rPr>
              <a:t>*Gjennomsnitt av score pr fokusområde</a:t>
            </a:r>
          </a:p>
        </p:txBody>
      </p:sp>
    </p:spTree>
    <p:extLst>
      <p:ext uri="{BB962C8B-B14F-4D97-AF65-F5344CB8AC3E}">
        <p14:creationId xmlns:p14="http://schemas.microsoft.com/office/powerpoint/2010/main" val="120953705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E8DCAB7-3BB9-4C44-AEEA-76EA78C119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E8DCAB7-3BB9-4C44-AEEA-76EA78C119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AEA2AD-52C8-46A3-A747-820A73B8D9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78">
              <a:defRPr/>
            </a:pPr>
            <a:endParaRPr kumimoji="0" lang="nb-NO" sz="16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6" name="Slide Number Placeholder 4">
            <a:extLst>
              <a:ext uri="{FF2B5EF4-FFF2-40B4-BE49-F238E27FC236}">
                <a16:creationId xmlns:a16="http://schemas.microsoft.com/office/drawing/2014/main" id="{C37A3FF3-54D9-4B08-A52A-E2DE0B0E7DA2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3CCE21-0F43-465D-A95C-235E160BA085}" type="slidenum">
              <a:rPr kumimoji="0" lang="en-GB" sz="93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9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AEB05A6-EF95-46C9-8759-5D0A2A8E8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Løsningsforslag: Lønn og Lønnsnær HR</a:t>
            </a:r>
            <a:br>
              <a:rPr lang="nb-NO" sz="1100" b="0"/>
            </a:br>
            <a:endParaRPr lang="nb-NO" sz="1100" b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F2EAB565-860F-46BC-832F-FEB4479FB91E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8342603" y="3307143"/>
            <a:ext cx="1692509" cy="1437552"/>
          </a:xfrm>
        </p:spPr>
        <p:txBody>
          <a:bodyPr/>
          <a:lstStyle/>
          <a:p>
            <a:pPr fontAlgn="b"/>
            <a:r>
              <a:rPr lang="nb-NO"/>
              <a:t>God bruker/-lederstøtte</a:t>
            </a:r>
          </a:p>
          <a:p>
            <a:pPr fontAlgn="b"/>
            <a:r>
              <a:rPr lang="nb-NO"/>
              <a:t>Tydelig og tilgjengelig kontaktpunkt</a:t>
            </a:r>
          </a:p>
          <a:p>
            <a:pPr fontAlgn="b"/>
            <a:r>
              <a:rPr lang="nb-NO"/>
              <a:t>Tydelig prosessansvar/eierskap</a:t>
            </a:r>
          </a:p>
          <a:p>
            <a:pPr fontAlgn="b"/>
            <a:r>
              <a:rPr lang="en-US"/>
              <a:t>Riktige tilganger i hele organisasjonen</a:t>
            </a:r>
            <a:endParaRPr lang="nb-NO"/>
          </a:p>
          <a:p>
            <a:pPr fontAlgn="b"/>
            <a:r>
              <a:rPr lang="en-US"/>
              <a:t>Vurdere hensiktsmessig organisering</a:t>
            </a:r>
            <a:endParaRPr lang="nb-NO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DC6177D9-CD7B-483D-BB5D-766F791FE7B1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342603" y="5012539"/>
            <a:ext cx="1800078" cy="1437552"/>
          </a:xfrm>
          <a:solidFill>
            <a:schemeClr val="bg1"/>
          </a:solidFill>
        </p:spPr>
        <p:txBody>
          <a:bodyPr/>
          <a:lstStyle/>
          <a:p>
            <a:pPr fontAlgn="b"/>
            <a:r>
              <a:rPr lang="nb-NO"/>
              <a:t>Lavere tilgjengelighet på fagekspertise og brukerstøtte</a:t>
            </a:r>
          </a:p>
          <a:p>
            <a:pPr fontAlgn="b"/>
            <a:r>
              <a:rPr lang="nb-NO"/>
              <a:t>Oppgaver henger igjen</a:t>
            </a:r>
          </a:p>
          <a:p>
            <a:pPr fontAlgn="b"/>
            <a:r>
              <a:rPr lang="nb-NO"/>
              <a:t>Motstridende interesser i organisasjonen</a:t>
            </a:r>
          </a:p>
          <a:p>
            <a:pPr fontAlgn="b"/>
            <a:r>
              <a:rPr lang="nb-NO"/>
              <a:t>Mindre kjennskap til særtrekk ved instituttene</a:t>
            </a:r>
          </a:p>
          <a:p>
            <a:pPr fontAlgn="b"/>
            <a:r>
              <a:rPr lang="nb-NO"/>
              <a:t>Får ikke med rett kompetanse</a:t>
            </a:r>
          </a:p>
          <a:p>
            <a:pPr fontAlgn="b"/>
            <a:r>
              <a:rPr lang="nb-NO"/>
              <a:t>Uklart eierskap til prosessene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FF45F225-07C5-4B2C-A8E1-F2E95051B7D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r="82817" b="-1592"/>
          <a:stretch/>
        </p:blipFill>
        <p:spPr>
          <a:xfrm>
            <a:off x="12255379" y="283749"/>
            <a:ext cx="189971" cy="200455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AA02198D-E5C4-4F45-94DA-BD417A585CA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1" r="82467" b="-2929"/>
          <a:stretch/>
        </p:blipFill>
        <p:spPr>
          <a:xfrm>
            <a:off x="12255379" y="499359"/>
            <a:ext cx="189971" cy="187431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DB9E790B-F6E9-4795-A182-36EF5B80B168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1" r="81315" b="-2038"/>
          <a:stretch/>
        </p:blipFill>
        <p:spPr>
          <a:xfrm>
            <a:off x="12255380" y="720413"/>
            <a:ext cx="189971" cy="21368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9C0FDD7D-DF9B-4A67-B436-72BE05067AF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273611" y="1136095"/>
            <a:ext cx="148715" cy="188167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6F870987-EE5A-4ED1-B080-E77E990D65E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2265209" y="1362667"/>
            <a:ext cx="151748" cy="194239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82E6F2B5-30D4-4C91-BD31-F5CE37D6196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2281199" y="909765"/>
            <a:ext cx="133539" cy="220337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8644EA9E-DB4F-4E17-A812-B40054CFE910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-1" t="1" r="344" b="57421"/>
          <a:stretch/>
        </p:blipFill>
        <p:spPr>
          <a:xfrm>
            <a:off x="12227549" y="1629887"/>
            <a:ext cx="229864" cy="203312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4E557009-AAB6-43D6-AAF3-0BD40E9CFDD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2230775" y="2765053"/>
            <a:ext cx="186144" cy="238751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9F372D38-0FE0-4FD1-BD79-066F80E7B616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2221913" y="3201066"/>
            <a:ext cx="209688" cy="217045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E6B98E1C-8E75-4D48-B774-3ECFC2F701D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2221913" y="2282289"/>
            <a:ext cx="194973" cy="209688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67E157D9-4619-40A1-BA87-FB01F7D7016D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2226623" y="2073922"/>
            <a:ext cx="202332" cy="213369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6D15112C-3982-4409-8C6A-24D57E0D2985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l="12415" t="50848" r="1" b="-1"/>
          <a:stretch/>
        </p:blipFill>
        <p:spPr>
          <a:xfrm>
            <a:off x="12252851" y="1880193"/>
            <a:ext cx="202024" cy="234707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1BF4BE26-3EA6-427E-8E83-30CAD4CB37A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2242653" y="2512192"/>
            <a:ext cx="204004" cy="214037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2886F46A-EBBC-4C1D-A523-53F7EB2A4EA1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2246776" y="3463383"/>
            <a:ext cx="183939" cy="202332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BCE4C226-C084-41C0-A064-94074127FD97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2253477" y="2940695"/>
            <a:ext cx="153568" cy="206984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14A12727-BC72-41C9-886F-04C57B10EA9D}"/>
              </a:ext>
            </a:extLst>
          </p:cNvPr>
          <p:cNvPicPr>
            <a:picLocks noChangeAspect="1"/>
          </p:cNvPicPr>
          <p:nvPr/>
        </p:nvPicPr>
        <p:blipFill rotWithShape="1">
          <a:blip r:embed="rId22"/>
          <a:srcRect r="82804" b="5698"/>
          <a:stretch/>
        </p:blipFill>
        <p:spPr>
          <a:xfrm>
            <a:off x="12258596" y="24522"/>
            <a:ext cx="189971" cy="191756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6CAE5764-E6C9-4357-B2BC-0D89F05E0CDB}"/>
              </a:ext>
            </a:extLst>
          </p:cNvPr>
          <p:cNvGrpSpPr/>
          <p:nvPr/>
        </p:nvGrpSpPr>
        <p:grpSpPr>
          <a:xfrm>
            <a:off x="3012476" y="1222970"/>
            <a:ext cx="443429" cy="506556"/>
            <a:chOff x="3804664" y="1406551"/>
            <a:chExt cx="443429" cy="506556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90798FE9-553B-4788-9E8A-35BB3AC8180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r="82817" b="-1592"/>
            <a:stretch/>
          </p:blipFill>
          <p:spPr>
            <a:xfrm>
              <a:off x="3804664" y="1566794"/>
              <a:ext cx="229865" cy="242551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A4D6F85C-FB7F-4CCB-BC0E-004BBEC94F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r="82817" b="-1592"/>
            <a:stretch/>
          </p:blipFill>
          <p:spPr>
            <a:xfrm>
              <a:off x="4018228" y="1406551"/>
              <a:ext cx="229865" cy="242551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5F7C3D24-5D49-4DC2-ACDF-98B0B2528E0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r="82817" b="-1592"/>
            <a:stretch/>
          </p:blipFill>
          <p:spPr>
            <a:xfrm>
              <a:off x="4001927" y="1670556"/>
              <a:ext cx="229865" cy="242551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BDD9B0F-B5BF-419A-AD8E-3129C23B2888}"/>
              </a:ext>
            </a:extLst>
          </p:cNvPr>
          <p:cNvGrpSpPr/>
          <p:nvPr/>
        </p:nvGrpSpPr>
        <p:grpSpPr>
          <a:xfrm>
            <a:off x="4429641" y="1188292"/>
            <a:ext cx="487047" cy="507335"/>
            <a:chOff x="5098918" y="1474610"/>
            <a:chExt cx="487047" cy="507335"/>
          </a:xfrm>
        </p:grpSpPr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64829F3D-2AD7-4D14-9F38-C6A4315678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339122" y="1474610"/>
              <a:ext cx="246843" cy="258986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C81A0BA5-68CB-4436-B6F3-6673EE777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150812" y="1722959"/>
              <a:ext cx="246843" cy="258986"/>
            </a:xfrm>
            <a:prstGeom prst="rect">
              <a:avLst/>
            </a:prstGeom>
          </p:spPr>
        </p:pic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9AC31CC0-599D-4A88-BAE4-2C6FDA21AAF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098918" y="1474610"/>
              <a:ext cx="246843" cy="258986"/>
            </a:xfrm>
            <a:prstGeom prst="rect">
              <a:avLst/>
            </a:prstGeom>
          </p:spPr>
        </p:pic>
      </p:grp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EC773A5F-0CD7-4F14-952D-C139D470E203}"/>
              </a:ext>
            </a:extLst>
          </p:cNvPr>
          <p:cNvSpPr/>
          <p:nvPr/>
        </p:nvSpPr>
        <p:spPr>
          <a:xfrm>
            <a:off x="2892330" y="1123801"/>
            <a:ext cx="5046910" cy="1898940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83893E6-2274-4E0B-8373-75A52CC42D8C}"/>
              </a:ext>
            </a:extLst>
          </p:cNvPr>
          <p:cNvGrpSpPr/>
          <p:nvPr/>
        </p:nvGrpSpPr>
        <p:grpSpPr>
          <a:xfrm>
            <a:off x="3743149" y="1205822"/>
            <a:ext cx="505957" cy="556494"/>
            <a:chOff x="4673702" y="1474012"/>
            <a:chExt cx="505957" cy="556494"/>
          </a:xfrm>
        </p:grpSpPr>
        <p:pic>
          <p:nvPicPr>
            <p:cNvPr id="88" name="Picture 87">
              <a:extLst>
                <a:ext uri="{FF2B5EF4-FFF2-40B4-BE49-F238E27FC236}">
                  <a16:creationId xmlns:a16="http://schemas.microsoft.com/office/drawing/2014/main" id="{0E8F5B5F-8745-48F1-B6F7-52EFA3DF8EB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l="12415" t="50848" r="1" b="-1"/>
            <a:stretch/>
          </p:blipFill>
          <p:spPr>
            <a:xfrm>
              <a:off x="4673702" y="1474012"/>
              <a:ext cx="244449" cy="283996"/>
            </a:xfrm>
            <a:prstGeom prst="rect">
              <a:avLst/>
            </a:prstGeom>
          </p:spPr>
        </p:pic>
        <p:pic>
          <p:nvPicPr>
            <p:cNvPr id="89" name="Picture 88">
              <a:extLst>
                <a:ext uri="{FF2B5EF4-FFF2-40B4-BE49-F238E27FC236}">
                  <a16:creationId xmlns:a16="http://schemas.microsoft.com/office/drawing/2014/main" id="{C3C5AE54-D63E-4C9D-A802-15E3D64963E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l="12415" t="50848" r="1" b="-1"/>
            <a:stretch/>
          </p:blipFill>
          <p:spPr>
            <a:xfrm>
              <a:off x="4935210" y="1578751"/>
              <a:ext cx="244449" cy="283996"/>
            </a:xfrm>
            <a:prstGeom prst="rect">
              <a:avLst/>
            </a:prstGeom>
          </p:spPr>
        </p:pic>
        <p:pic>
          <p:nvPicPr>
            <p:cNvPr id="90" name="Picture 89">
              <a:extLst>
                <a:ext uri="{FF2B5EF4-FFF2-40B4-BE49-F238E27FC236}">
                  <a16:creationId xmlns:a16="http://schemas.microsoft.com/office/drawing/2014/main" id="{B20554E6-1344-4FDE-A406-6E7A64E7B7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/>
            <a:srcRect l="12415" t="50848" r="1" b="-1"/>
            <a:stretch/>
          </p:blipFill>
          <p:spPr>
            <a:xfrm>
              <a:off x="4687974" y="1746510"/>
              <a:ext cx="244449" cy="283996"/>
            </a:xfrm>
            <a:prstGeom prst="rect">
              <a:avLst/>
            </a:prstGeom>
          </p:spPr>
        </p:pic>
      </p:grpSp>
      <p:sp>
        <p:nvSpPr>
          <p:cNvPr id="104" name="Rectangle: Rounded Corners 103">
            <a:extLst>
              <a:ext uri="{FF2B5EF4-FFF2-40B4-BE49-F238E27FC236}">
                <a16:creationId xmlns:a16="http://schemas.microsoft.com/office/drawing/2014/main" id="{8B5101CA-D0B9-4E67-9622-467057469D89}"/>
              </a:ext>
            </a:extLst>
          </p:cNvPr>
          <p:cNvSpPr/>
          <p:nvPr/>
        </p:nvSpPr>
        <p:spPr>
          <a:xfrm>
            <a:off x="6433554" y="933488"/>
            <a:ext cx="1223046" cy="240735"/>
          </a:xfrm>
          <a:prstGeom prst="round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1100">
                <a:solidFill>
                  <a:schemeClr val="bg1">
                    <a:lumMod val="50000"/>
                  </a:schemeClr>
                </a:solidFill>
              </a:rPr>
              <a:t>Fellestjenester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B0A02EC-16C8-4936-8CF9-2F697F5D731A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0275018" y="3361342"/>
            <a:ext cx="1692508" cy="138966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D49CFEFB-66D6-45A5-BC87-B905FF6DF7ED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10268773" y="5036483"/>
            <a:ext cx="1698753" cy="1389664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9068DB16-C2AA-4C55-B9AA-A9B42B087F27}"/>
              </a:ext>
            </a:extLst>
          </p:cNvPr>
          <p:cNvGrpSpPr/>
          <p:nvPr/>
        </p:nvGrpSpPr>
        <p:grpSpPr>
          <a:xfrm>
            <a:off x="1181122" y="1508900"/>
            <a:ext cx="1704272" cy="1467256"/>
            <a:chOff x="1123042" y="1464413"/>
            <a:chExt cx="1704272" cy="1467256"/>
          </a:xfrm>
        </p:grpSpPr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id="{D89A21E9-3484-4149-AF54-C07E975EB5B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/>
            <a:srcRect r="82804" b="5698"/>
            <a:stretch/>
          </p:blipFill>
          <p:spPr>
            <a:xfrm>
              <a:off x="1362893" y="1464413"/>
              <a:ext cx="336546" cy="339709"/>
            </a:xfrm>
            <a:prstGeom prst="rect">
              <a:avLst/>
            </a:prstGeom>
          </p:spPr>
        </p:pic>
        <p:pic>
          <p:nvPicPr>
            <p:cNvPr id="102" name="Picture 101">
              <a:extLst>
                <a:ext uri="{FF2B5EF4-FFF2-40B4-BE49-F238E27FC236}">
                  <a16:creationId xmlns:a16="http://schemas.microsoft.com/office/drawing/2014/main" id="{D1E47CC8-CF43-42C5-9FEB-01C1DAA6AC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1" r="82467" b="-2929"/>
            <a:stretch/>
          </p:blipFill>
          <p:spPr>
            <a:xfrm>
              <a:off x="1650989" y="2267701"/>
              <a:ext cx="336546" cy="332045"/>
            </a:xfrm>
            <a:prstGeom prst="rect">
              <a:avLst/>
            </a:prstGeom>
          </p:spPr>
        </p:pic>
        <p:pic>
          <p:nvPicPr>
            <p:cNvPr id="103" name="Picture 102">
              <a:extLst>
                <a:ext uri="{FF2B5EF4-FFF2-40B4-BE49-F238E27FC236}">
                  <a16:creationId xmlns:a16="http://schemas.microsoft.com/office/drawing/2014/main" id="{D0AF9825-6403-49A5-87DF-1E447003704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1" r="81315" b="-2038"/>
            <a:stretch/>
          </p:blipFill>
          <p:spPr>
            <a:xfrm>
              <a:off x="2311029" y="1557236"/>
              <a:ext cx="336546" cy="378547"/>
            </a:xfrm>
            <a:prstGeom prst="rect">
              <a:avLst/>
            </a:prstGeom>
          </p:spPr>
        </p:pic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ADD2CB00-87E9-4449-8C81-4F7AF0FFF8B1}"/>
                </a:ext>
              </a:extLst>
            </p:cNvPr>
            <p:cNvSpPr txBox="1"/>
            <p:nvPr/>
          </p:nvSpPr>
          <p:spPr>
            <a:xfrm>
              <a:off x="1441595" y="2593115"/>
              <a:ext cx="69602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 sz="800"/>
                <a:t>Kostnads-</a:t>
              </a:r>
            </a:p>
            <a:p>
              <a:r>
                <a:rPr lang="nb-NO" sz="800"/>
                <a:t>godkjenner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3A1D0A57-0815-4342-ADCD-125F4060C2C1}"/>
                </a:ext>
              </a:extLst>
            </p:cNvPr>
            <p:cNvSpPr txBox="1"/>
            <p:nvPr/>
          </p:nvSpPr>
          <p:spPr>
            <a:xfrm>
              <a:off x="2131290" y="1939840"/>
              <a:ext cx="69602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b-NO" sz="800"/>
                <a:t>Personal-</a:t>
              </a:r>
            </a:p>
            <a:p>
              <a:pPr algn="ctr"/>
              <a:r>
                <a:rPr lang="nb-NO" sz="800"/>
                <a:t>godkjenner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701AEEDC-0666-4301-8576-AC72234050E8}"/>
                </a:ext>
              </a:extLst>
            </p:cNvPr>
            <p:cNvSpPr txBox="1"/>
            <p:nvPr/>
          </p:nvSpPr>
          <p:spPr>
            <a:xfrm>
              <a:off x="1123042" y="1840331"/>
              <a:ext cx="81624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b-NO" sz="800"/>
                <a:t>Behovshaver </a:t>
              </a:r>
            </a:p>
            <a:p>
              <a:pPr algn="ctr"/>
              <a:r>
                <a:rPr lang="nb-NO" sz="800"/>
                <a:t>kontrakt</a:t>
              </a:r>
            </a:p>
          </p:txBody>
        </p:sp>
      </p:grp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2B8F15E9-5F78-4A2C-B028-5E071CD3B0DB}"/>
              </a:ext>
            </a:extLst>
          </p:cNvPr>
          <p:cNvGrpSpPr/>
          <p:nvPr/>
        </p:nvGrpSpPr>
        <p:grpSpPr>
          <a:xfrm>
            <a:off x="1184729" y="3243512"/>
            <a:ext cx="1704272" cy="1467256"/>
            <a:chOff x="1123042" y="1464413"/>
            <a:chExt cx="1704272" cy="1467256"/>
          </a:xfrm>
        </p:grpSpPr>
        <p:pic>
          <p:nvPicPr>
            <p:cNvPr id="123" name="Picture 122">
              <a:extLst>
                <a:ext uri="{FF2B5EF4-FFF2-40B4-BE49-F238E27FC236}">
                  <a16:creationId xmlns:a16="http://schemas.microsoft.com/office/drawing/2014/main" id="{723E908D-E0F9-48D4-AFD8-382C7D1F8A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/>
            <a:srcRect r="82804" b="5698"/>
            <a:stretch/>
          </p:blipFill>
          <p:spPr>
            <a:xfrm>
              <a:off x="1362893" y="1464413"/>
              <a:ext cx="336546" cy="339709"/>
            </a:xfrm>
            <a:prstGeom prst="rect">
              <a:avLst/>
            </a:prstGeom>
          </p:spPr>
        </p:pic>
        <p:pic>
          <p:nvPicPr>
            <p:cNvPr id="124" name="Picture 123">
              <a:extLst>
                <a:ext uri="{FF2B5EF4-FFF2-40B4-BE49-F238E27FC236}">
                  <a16:creationId xmlns:a16="http://schemas.microsoft.com/office/drawing/2014/main" id="{0576D7BF-BE7E-43CA-8C99-5086611389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1" r="82467" b="-2929"/>
            <a:stretch/>
          </p:blipFill>
          <p:spPr>
            <a:xfrm>
              <a:off x="1650989" y="2267701"/>
              <a:ext cx="336546" cy="332045"/>
            </a:xfrm>
            <a:prstGeom prst="rect">
              <a:avLst/>
            </a:prstGeom>
          </p:spPr>
        </p:pic>
        <p:pic>
          <p:nvPicPr>
            <p:cNvPr id="125" name="Picture 124">
              <a:extLst>
                <a:ext uri="{FF2B5EF4-FFF2-40B4-BE49-F238E27FC236}">
                  <a16:creationId xmlns:a16="http://schemas.microsoft.com/office/drawing/2014/main" id="{E8E06D0F-45A1-47FD-B57E-E07074A4F4B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1" r="81315" b="-2038"/>
            <a:stretch/>
          </p:blipFill>
          <p:spPr>
            <a:xfrm>
              <a:off x="2311029" y="1557236"/>
              <a:ext cx="336546" cy="378547"/>
            </a:xfrm>
            <a:prstGeom prst="rect">
              <a:avLst/>
            </a:prstGeom>
          </p:spPr>
        </p:pic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7DDDC99F-919E-4D4D-84C4-E38A5EE6BF5C}"/>
                </a:ext>
              </a:extLst>
            </p:cNvPr>
            <p:cNvSpPr txBox="1"/>
            <p:nvPr/>
          </p:nvSpPr>
          <p:spPr>
            <a:xfrm>
              <a:off x="1441595" y="2593115"/>
              <a:ext cx="69602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 sz="800"/>
                <a:t>Kostnads-</a:t>
              </a:r>
            </a:p>
            <a:p>
              <a:r>
                <a:rPr lang="nb-NO" sz="800"/>
                <a:t>godkjenner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A5D65853-6DB5-4E7D-A089-31379913802E}"/>
                </a:ext>
              </a:extLst>
            </p:cNvPr>
            <p:cNvSpPr txBox="1"/>
            <p:nvPr/>
          </p:nvSpPr>
          <p:spPr>
            <a:xfrm>
              <a:off x="2131290" y="1939840"/>
              <a:ext cx="69602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b-NO" sz="800"/>
                <a:t>Personal-</a:t>
              </a:r>
            </a:p>
            <a:p>
              <a:pPr algn="ctr"/>
              <a:r>
                <a:rPr lang="nb-NO" sz="800"/>
                <a:t>godkjenner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95594845-87F5-43B3-9F59-8BEC53457945}"/>
                </a:ext>
              </a:extLst>
            </p:cNvPr>
            <p:cNvSpPr txBox="1"/>
            <p:nvPr/>
          </p:nvSpPr>
          <p:spPr>
            <a:xfrm>
              <a:off x="1123042" y="1840331"/>
              <a:ext cx="81624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b-NO" sz="800"/>
                <a:t>Behovshaver </a:t>
              </a:r>
            </a:p>
            <a:p>
              <a:pPr algn="ctr"/>
              <a:r>
                <a:rPr lang="nb-NO" sz="800"/>
                <a:t>kontrakt</a:t>
              </a: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9715D997-F93B-4A96-80B3-79CD8A19A283}"/>
              </a:ext>
            </a:extLst>
          </p:cNvPr>
          <p:cNvGrpSpPr/>
          <p:nvPr/>
        </p:nvGrpSpPr>
        <p:grpSpPr>
          <a:xfrm>
            <a:off x="1181122" y="4958891"/>
            <a:ext cx="1704272" cy="1467256"/>
            <a:chOff x="1123042" y="1464413"/>
            <a:chExt cx="1704272" cy="1467256"/>
          </a:xfrm>
        </p:grpSpPr>
        <p:pic>
          <p:nvPicPr>
            <p:cNvPr id="130" name="Picture 129">
              <a:extLst>
                <a:ext uri="{FF2B5EF4-FFF2-40B4-BE49-F238E27FC236}">
                  <a16:creationId xmlns:a16="http://schemas.microsoft.com/office/drawing/2014/main" id="{CB6ADB95-2FD4-41CC-9BF7-D669D57C23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/>
            <a:srcRect r="82804" b="5698"/>
            <a:stretch/>
          </p:blipFill>
          <p:spPr>
            <a:xfrm>
              <a:off x="1362893" y="1464413"/>
              <a:ext cx="336546" cy="339709"/>
            </a:xfrm>
            <a:prstGeom prst="rect">
              <a:avLst/>
            </a:prstGeom>
          </p:spPr>
        </p:pic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0384D49F-9D90-4D19-B46F-D2F1F58E6F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t="1" r="82467" b="-2929"/>
            <a:stretch/>
          </p:blipFill>
          <p:spPr>
            <a:xfrm>
              <a:off x="1650989" y="2267701"/>
              <a:ext cx="336546" cy="332045"/>
            </a:xfrm>
            <a:prstGeom prst="rect">
              <a:avLst/>
            </a:prstGeom>
          </p:spPr>
        </p:pic>
        <p:pic>
          <p:nvPicPr>
            <p:cNvPr id="132" name="Picture 131">
              <a:extLst>
                <a:ext uri="{FF2B5EF4-FFF2-40B4-BE49-F238E27FC236}">
                  <a16:creationId xmlns:a16="http://schemas.microsoft.com/office/drawing/2014/main" id="{50996FE2-6BAD-4A78-A89A-46FEAC57F6E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1" r="81315" b="-2038"/>
            <a:stretch/>
          </p:blipFill>
          <p:spPr>
            <a:xfrm>
              <a:off x="2311029" y="1557236"/>
              <a:ext cx="336546" cy="378547"/>
            </a:xfrm>
            <a:prstGeom prst="rect">
              <a:avLst/>
            </a:prstGeom>
          </p:spPr>
        </p:pic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8A0C89BE-97FD-4555-95D4-1D1ECCF458D9}"/>
                </a:ext>
              </a:extLst>
            </p:cNvPr>
            <p:cNvSpPr txBox="1"/>
            <p:nvPr/>
          </p:nvSpPr>
          <p:spPr>
            <a:xfrm>
              <a:off x="1441595" y="2593115"/>
              <a:ext cx="69602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 sz="800"/>
                <a:t>Kostnads-</a:t>
              </a:r>
            </a:p>
            <a:p>
              <a:r>
                <a:rPr lang="nb-NO" sz="800"/>
                <a:t>godkjenner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C56DEEE6-3574-41D9-9453-A8463BFB73A8}"/>
                </a:ext>
              </a:extLst>
            </p:cNvPr>
            <p:cNvSpPr txBox="1"/>
            <p:nvPr/>
          </p:nvSpPr>
          <p:spPr>
            <a:xfrm>
              <a:off x="2131290" y="1939840"/>
              <a:ext cx="69602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b-NO" sz="800"/>
                <a:t>Personal-</a:t>
              </a:r>
            </a:p>
            <a:p>
              <a:pPr algn="ctr"/>
              <a:r>
                <a:rPr lang="nb-NO" sz="800"/>
                <a:t>godkjenner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40BA4C3A-A746-4A96-98B1-BDC0E623C6F7}"/>
                </a:ext>
              </a:extLst>
            </p:cNvPr>
            <p:cNvSpPr txBox="1"/>
            <p:nvPr/>
          </p:nvSpPr>
          <p:spPr>
            <a:xfrm>
              <a:off x="1123042" y="1840331"/>
              <a:ext cx="81624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b-NO" sz="800"/>
                <a:t>Behovshaver </a:t>
              </a:r>
            </a:p>
            <a:p>
              <a:pPr algn="ctr"/>
              <a:r>
                <a:rPr lang="nb-NO" sz="800"/>
                <a:t>kontrakt</a:t>
              </a:r>
            </a:p>
          </p:txBody>
        </p:sp>
      </p:grpSp>
      <p:sp>
        <p:nvSpPr>
          <p:cNvPr id="136" name="TextBox 135">
            <a:extLst>
              <a:ext uri="{FF2B5EF4-FFF2-40B4-BE49-F238E27FC236}">
                <a16:creationId xmlns:a16="http://schemas.microsoft.com/office/drawing/2014/main" id="{F631D1A1-7CBB-4DB6-8585-AB70027D4894}"/>
              </a:ext>
            </a:extLst>
          </p:cNvPr>
          <p:cNvSpPr txBox="1"/>
          <p:nvPr/>
        </p:nvSpPr>
        <p:spPr>
          <a:xfrm>
            <a:off x="2874957" y="1750816"/>
            <a:ext cx="7184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800"/>
              <a:t>Koordinator</a:t>
            </a:r>
          </a:p>
          <a:p>
            <a:pPr algn="ctr"/>
            <a:r>
              <a:rPr lang="nb-NO" sz="800"/>
              <a:t>kontrakt</a:t>
            </a:r>
          </a:p>
        </p:txBody>
      </p:sp>
      <p:sp>
        <p:nvSpPr>
          <p:cNvPr id="137" name="TextBox 136">
            <a:extLst>
              <a:ext uri="{FF2B5EF4-FFF2-40B4-BE49-F238E27FC236}">
                <a16:creationId xmlns:a16="http://schemas.microsoft.com/office/drawing/2014/main" id="{A9883E59-40A7-4836-94FB-9B1CF8E6BE5E}"/>
              </a:ext>
            </a:extLst>
          </p:cNvPr>
          <p:cNvSpPr txBox="1"/>
          <p:nvPr/>
        </p:nvSpPr>
        <p:spPr>
          <a:xfrm>
            <a:off x="3674011" y="1720422"/>
            <a:ext cx="59343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800"/>
              <a:t>Attestant</a:t>
            </a: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981B1006-85C4-41C3-B5B4-3C5DB3EAC1CB}"/>
              </a:ext>
            </a:extLst>
          </p:cNvPr>
          <p:cNvSpPr txBox="1"/>
          <p:nvPr/>
        </p:nvSpPr>
        <p:spPr>
          <a:xfrm>
            <a:off x="4280268" y="1708689"/>
            <a:ext cx="7857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b-NO" sz="800"/>
              <a:t>Fagspesialist</a:t>
            </a:r>
          </a:p>
          <a:p>
            <a:pPr algn="ctr"/>
            <a:r>
              <a:rPr lang="nb-NO" sz="800"/>
              <a:t>reise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6DC6E95-A2D4-4811-9182-6D71F367331B}"/>
              </a:ext>
            </a:extLst>
          </p:cNvPr>
          <p:cNvGrpSpPr/>
          <p:nvPr/>
        </p:nvGrpSpPr>
        <p:grpSpPr>
          <a:xfrm>
            <a:off x="3773681" y="2036498"/>
            <a:ext cx="779381" cy="945527"/>
            <a:chOff x="3530237" y="1999868"/>
            <a:chExt cx="779381" cy="945527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9525DF6-A3E8-4EFD-854A-21126DD72654}"/>
                </a:ext>
              </a:extLst>
            </p:cNvPr>
            <p:cNvGrpSpPr/>
            <p:nvPr/>
          </p:nvGrpSpPr>
          <p:grpSpPr>
            <a:xfrm>
              <a:off x="3670810" y="1999868"/>
              <a:ext cx="498234" cy="457458"/>
              <a:chOff x="4575331" y="2168284"/>
              <a:chExt cx="498234" cy="457458"/>
            </a:xfrm>
          </p:grpSpPr>
          <p:pic>
            <p:nvPicPr>
              <p:cNvPr id="91" name="Picture 90">
                <a:extLst>
                  <a:ext uri="{FF2B5EF4-FFF2-40B4-BE49-F238E27FC236}">
                    <a16:creationId xmlns:a16="http://schemas.microsoft.com/office/drawing/2014/main" id="{996BF605-0659-4FEA-9441-6BFE48A77A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4575331" y="2242528"/>
                <a:ext cx="161582" cy="266608"/>
              </a:xfrm>
              <a:prstGeom prst="rect">
                <a:avLst/>
              </a:prstGeom>
            </p:spPr>
          </p:pic>
          <p:pic>
            <p:nvPicPr>
              <p:cNvPr id="92" name="Picture 91">
                <a:extLst>
                  <a:ext uri="{FF2B5EF4-FFF2-40B4-BE49-F238E27FC236}">
                    <a16:creationId xmlns:a16="http://schemas.microsoft.com/office/drawing/2014/main" id="{F27BAC1D-FED9-4F6C-8FB0-6BF655CAE5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4768992" y="2359134"/>
                <a:ext cx="161582" cy="266608"/>
              </a:xfrm>
              <a:prstGeom prst="rect">
                <a:avLst/>
              </a:prstGeom>
            </p:spPr>
          </p:pic>
          <p:pic>
            <p:nvPicPr>
              <p:cNvPr id="105" name="Picture 104">
                <a:extLst>
                  <a:ext uri="{FF2B5EF4-FFF2-40B4-BE49-F238E27FC236}">
                    <a16:creationId xmlns:a16="http://schemas.microsoft.com/office/drawing/2014/main" id="{D9AA79DC-3CBC-4D74-B115-16035ABE13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4911983" y="2168284"/>
                <a:ext cx="161582" cy="266608"/>
              </a:xfrm>
              <a:prstGeom prst="rect">
                <a:avLst/>
              </a:prstGeom>
            </p:spPr>
          </p:pic>
        </p:grp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69D63ECC-9BB2-48AB-B8A3-C730F0EF68FE}"/>
                </a:ext>
              </a:extLst>
            </p:cNvPr>
            <p:cNvSpPr txBox="1"/>
            <p:nvPr/>
          </p:nvSpPr>
          <p:spPr>
            <a:xfrm>
              <a:off x="3530237" y="2483730"/>
              <a:ext cx="77938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b-NO" sz="800"/>
                <a:t>Bruker-</a:t>
              </a:r>
            </a:p>
            <a:p>
              <a:pPr algn="ctr"/>
              <a:r>
                <a:rPr lang="nb-NO" sz="800"/>
                <a:t>administrator</a:t>
              </a:r>
            </a:p>
            <a:p>
              <a:pPr algn="ctr"/>
              <a:r>
                <a:rPr lang="nb-NO" sz="800"/>
                <a:t>ERP</a:t>
              </a: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FDDAFD1-48E8-4A77-8BFC-FD1105EDF30E}"/>
              </a:ext>
            </a:extLst>
          </p:cNvPr>
          <p:cNvGrpSpPr/>
          <p:nvPr/>
        </p:nvGrpSpPr>
        <p:grpSpPr>
          <a:xfrm>
            <a:off x="5132634" y="1433732"/>
            <a:ext cx="785792" cy="982547"/>
            <a:chOff x="5082860" y="2018142"/>
            <a:chExt cx="785792" cy="868322"/>
          </a:xfrm>
        </p:grpSpPr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65305ED4-AFF0-426F-A06F-E541D01F7F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217949" y="2021915"/>
              <a:ext cx="244822" cy="269302"/>
            </a:xfrm>
            <a:prstGeom prst="rect">
              <a:avLst/>
            </a:prstGeom>
          </p:spPr>
        </p:pic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C578ECB5-3EE4-41A2-A852-4FAA63382D2E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353363" y="2298004"/>
              <a:ext cx="244822" cy="269302"/>
            </a:xfrm>
            <a:prstGeom prst="rect">
              <a:avLst/>
            </a:prstGeom>
          </p:spPr>
        </p:pic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2F0CC7F1-13A5-46F3-A727-2C78AC5EE7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5488741" y="2018142"/>
              <a:ext cx="244822" cy="269302"/>
            </a:xfrm>
            <a:prstGeom prst="rect">
              <a:avLst/>
            </a:prstGeom>
          </p:spPr>
        </p:pic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6AB41E2F-B924-47D9-B487-1445F6F4B867}"/>
                </a:ext>
              </a:extLst>
            </p:cNvPr>
            <p:cNvSpPr txBox="1"/>
            <p:nvPr/>
          </p:nvSpPr>
          <p:spPr>
            <a:xfrm>
              <a:off x="5082860" y="2547910"/>
              <a:ext cx="78579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b-NO" sz="800"/>
                <a:t>Fagspesialist</a:t>
              </a:r>
            </a:p>
            <a:p>
              <a:pPr algn="ctr"/>
              <a:r>
                <a:rPr lang="nb-NO" sz="800"/>
                <a:t>organisasjon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7E4189D-299D-4E0D-8394-469C64922DF9}"/>
              </a:ext>
            </a:extLst>
          </p:cNvPr>
          <p:cNvGrpSpPr/>
          <p:nvPr/>
        </p:nvGrpSpPr>
        <p:grpSpPr>
          <a:xfrm>
            <a:off x="6844544" y="1146897"/>
            <a:ext cx="619080" cy="833368"/>
            <a:chOff x="6481220" y="1220268"/>
            <a:chExt cx="619080" cy="833368"/>
          </a:xfrm>
        </p:grpSpPr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47A7EB96-49A9-4782-846B-D67B3EDE273C}"/>
                </a:ext>
              </a:extLst>
            </p:cNvPr>
            <p:cNvGrpSpPr/>
            <p:nvPr/>
          </p:nvGrpSpPr>
          <p:grpSpPr>
            <a:xfrm>
              <a:off x="6557261" y="1220268"/>
              <a:ext cx="466999" cy="524542"/>
              <a:chOff x="6491346" y="1432842"/>
              <a:chExt cx="466999" cy="524542"/>
            </a:xfrm>
          </p:grpSpPr>
          <p:pic>
            <p:nvPicPr>
              <p:cNvPr id="82" name="Picture 81">
                <a:extLst>
                  <a:ext uri="{FF2B5EF4-FFF2-40B4-BE49-F238E27FC236}">
                    <a16:creationId xmlns:a16="http://schemas.microsoft.com/office/drawing/2014/main" id="{0EBE2E24-E54F-4C36-8254-69E5A91F97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6491346" y="1453523"/>
                <a:ext cx="187049" cy="252111"/>
              </a:xfrm>
              <a:prstGeom prst="rect">
                <a:avLst/>
              </a:prstGeom>
            </p:spPr>
          </p:pic>
          <p:pic>
            <p:nvPicPr>
              <p:cNvPr id="83" name="Picture 82">
                <a:extLst>
                  <a:ext uri="{FF2B5EF4-FFF2-40B4-BE49-F238E27FC236}">
                    <a16:creationId xmlns:a16="http://schemas.microsoft.com/office/drawing/2014/main" id="{580BBFEA-3542-45BD-AA66-FF5F68A12F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6647504" y="1705273"/>
                <a:ext cx="187049" cy="252111"/>
              </a:xfrm>
              <a:prstGeom prst="rect">
                <a:avLst/>
              </a:prstGeom>
            </p:spPr>
          </p:pic>
          <p:pic>
            <p:nvPicPr>
              <p:cNvPr id="84" name="Picture 83">
                <a:extLst>
                  <a:ext uri="{FF2B5EF4-FFF2-40B4-BE49-F238E27FC236}">
                    <a16:creationId xmlns:a16="http://schemas.microsoft.com/office/drawing/2014/main" id="{5EB58667-4AB1-4316-8078-89CA8B070D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6771296" y="1432842"/>
                <a:ext cx="187049" cy="252111"/>
              </a:xfrm>
              <a:prstGeom prst="rect">
                <a:avLst/>
              </a:prstGeom>
            </p:spPr>
          </p:pic>
        </p:grp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37936BAF-B266-4CF8-93A7-50EE56D545F1}"/>
                </a:ext>
              </a:extLst>
            </p:cNvPr>
            <p:cNvSpPr txBox="1"/>
            <p:nvPr/>
          </p:nvSpPr>
          <p:spPr>
            <a:xfrm>
              <a:off x="6481220" y="1715082"/>
              <a:ext cx="61908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b-NO" sz="800"/>
                <a:t>Feilretter </a:t>
              </a:r>
            </a:p>
            <a:p>
              <a:pPr algn="ctr"/>
              <a:r>
                <a:rPr lang="nb-NO" sz="800"/>
                <a:t>lønn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94EF6E8-9BCA-4DFD-A925-2C15DB7A41DA}"/>
              </a:ext>
            </a:extLst>
          </p:cNvPr>
          <p:cNvGrpSpPr/>
          <p:nvPr/>
        </p:nvGrpSpPr>
        <p:grpSpPr>
          <a:xfrm>
            <a:off x="3076144" y="2223372"/>
            <a:ext cx="654363" cy="698371"/>
            <a:chOff x="2894978" y="2153308"/>
            <a:chExt cx="654363" cy="698371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20D54DC2-2844-45B5-AE65-B19DE6229C72}"/>
                </a:ext>
              </a:extLst>
            </p:cNvPr>
            <p:cNvGrpSpPr/>
            <p:nvPr/>
          </p:nvGrpSpPr>
          <p:grpSpPr>
            <a:xfrm>
              <a:off x="2894978" y="2153308"/>
              <a:ext cx="593644" cy="511956"/>
              <a:chOff x="3728861" y="2114684"/>
              <a:chExt cx="593644" cy="511956"/>
            </a:xfrm>
          </p:grpSpPr>
          <p:pic>
            <p:nvPicPr>
              <p:cNvPr id="85" name="Picture 84">
                <a:extLst>
                  <a:ext uri="{FF2B5EF4-FFF2-40B4-BE49-F238E27FC236}">
                    <a16:creationId xmlns:a16="http://schemas.microsoft.com/office/drawing/2014/main" id="{9163E58D-EDB3-4FFD-8902-51A7893F748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/>
              <a:srcRect l="-1" t="1" r="344" b="57421"/>
              <a:stretch/>
            </p:blipFill>
            <p:spPr>
              <a:xfrm>
                <a:off x="3821779" y="2114684"/>
                <a:ext cx="274690" cy="242960"/>
              </a:xfrm>
              <a:prstGeom prst="rect">
                <a:avLst/>
              </a:prstGeom>
            </p:spPr>
          </p:pic>
          <p:pic>
            <p:nvPicPr>
              <p:cNvPr id="86" name="Picture 85">
                <a:extLst>
                  <a:ext uri="{FF2B5EF4-FFF2-40B4-BE49-F238E27FC236}">
                    <a16:creationId xmlns:a16="http://schemas.microsoft.com/office/drawing/2014/main" id="{ECA0F33D-A026-48E6-874F-F36D25B74DF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/>
              <a:srcRect l="-1" t="1" r="344" b="57421"/>
              <a:stretch/>
            </p:blipFill>
            <p:spPr>
              <a:xfrm>
                <a:off x="3728861" y="2383681"/>
                <a:ext cx="274689" cy="242959"/>
              </a:xfrm>
              <a:prstGeom prst="rect">
                <a:avLst/>
              </a:prstGeom>
            </p:spPr>
          </p:pic>
          <p:pic>
            <p:nvPicPr>
              <p:cNvPr id="87" name="Picture 86">
                <a:extLst>
                  <a:ext uri="{FF2B5EF4-FFF2-40B4-BE49-F238E27FC236}">
                    <a16:creationId xmlns:a16="http://schemas.microsoft.com/office/drawing/2014/main" id="{9678B768-A3C3-409A-8C3E-B9564EFCCE5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/>
              <a:srcRect l="-1" t="1" r="344" b="57421"/>
              <a:stretch/>
            </p:blipFill>
            <p:spPr>
              <a:xfrm>
                <a:off x="4047816" y="2255126"/>
                <a:ext cx="274689" cy="242960"/>
              </a:xfrm>
              <a:prstGeom prst="rect">
                <a:avLst/>
              </a:prstGeom>
            </p:spPr>
          </p:pic>
        </p:grp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8BE29BF3-B16D-449E-8CC0-1A30638D5A7E}"/>
                </a:ext>
              </a:extLst>
            </p:cNvPr>
            <p:cNvSpPr txBox="1"/>
            <p:nvPr/>
          </p:nvSpPr>
          <p:spPr>
            <a:xfrm>
              <a:off x="2919039" y="2636235"/>
              <a:ext cx="630302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b-NO" sz="800"/>
                <a:t>Kontrollør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8BA3B27-C9FC-4FFA-8085-00A2FCFAB11F}"/>
              </a:ext>
            </a:extLst>
          </p:cNvPr>
          <p:cNvGrpSpPr/>
          <p:nvPr/>
        </p:nvGrpSpPr>
        <p:grpSpPr>
          <a:xfrm>
            <a:off x="5891858" y="2082237"/>
            <a:ext cx="785792" cy="858458"/>
            <a:chOff x="5975674" y="1937422"/>
            <a:chExt cx="785792" cy="858458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8D470DC-9EC1-4DF6-AB30-A027E89A54EC}"/>
                </a:ext>
              </a:extLst>
            </p:cNvPr>
            <p:cNvGrpSpPr/>
            <p:nvPr/>
          </p:nvGrpSpPr>
          <p:grpSpPr>
            <a:xfrm>
              <a:off x="6094643" y="1937422"/>
              <a:ext cx="547855" cy="571900"/>
              <a:chOff x="4943100" y="2102017"/>
              <a:chExt cx="547855" cy="571900"/>
            </a:xfrm>
          </p:grpSpPr>
          <p:pic>
            <p:nvPicPr>
              <p:cNvPr id="79" name="Picture 78">
                <a:extLst>
                  <a:ext uri="{FF2B5EF4-FFF2-40B4-BE49-F238E27FC236}">
                    <a16:creationId xmlns:a16="http://schemas.microsoft.com/office/drawing/2014/main" id="{2C7AEE58-10DF-4D3C-9A59-17FB434C29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5004414" y="2102017"/>
                <a:ext cx="269302" cy="283995"/>
              </a:xfrm>
              <a:prstGeom prst="rect">
                <a:avLst/>
              </a:prstGeom>
            </p:spPr>
          </p:pic>
          <p:pic>
            <p:nvPicPr>
              <p:cNvPr id="80" name="Picture 79">
                <a:extLst>
                  <a:ext uri="{FF2B5EF4-FFF2-40B4-BE49-F238E27FC236}">
                    <a16:creationId xmlns:a16="http://schemas.microsoft.com/office/drawing/2014/main" id="{23083843-9F78-4482-923E-0DD4238361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5221653" y="2238092"/>
                <a:ext cx="269302" cy="283995"/>
              </a:xfrm>
              <a:prstGeom prst="rect">
                <a:avLst/>
              </a:prstGeom>
            </p:spPr>
          </p:pic>
          <p:pic>
            <p:nvPicPr>
              <p:cNvPr id="81" name="Picture 80">
                <a:extLst>
                  <a:ext uri="{FF2B5EF4-FFF2-40B4-BE49-F238E27FC236}">
                    <a16:creationId xmlns:a16="http://schemas.microsoft.com/office/drawing/2014/main" id="{385D75BA-F201-4DBE-8000-B17F093D00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4943100" y="2389922"/>
                <a:ext cx="269302" cy="283995"/>
              </a:xfrm>
              <a:prstGeom prst="rect">
                <a:avLst/>
              </a:prstGeom>
            </p:spPr>
          </p:pic>
        </p:grp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507ADDF0-247F-494C-A2E5-B64C7CD50518}"/>
                </a:ext>
              </a:extLst>
            </p:cNvPr>
            <p:cNvSpPr txBox="1"/>
            <p:nvPr/>
          </p:nvSpPr>
          <p:spPr>
            <a:xfrm>
              <a:off x="5975674" y="2457326"/>
              <a:ext cx="78579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b-NO" sz="800"/>
                <a:t>Fagspesialist</a:t>
              </a:r>
            </a:p>
            <a:p>
              <a:pPr algn="ctr"/>
              <a:r>
                <a:rPr lang="nb-NO" sz="800"/>
                <a:t>Tid 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9239544-BA8B-4269-B4F9-CBA49BE47EB3}"/>
              </a:ext>
            </a:extLst>
          </p:cNvPr>
          <p:cNvGrpSpPr/>
          <p:nvPr/>
        </p:nvGrpSpPr>
        <p:grpSpPr>
          <a:xfrm>
            <a:off x="5796761" y="1135343"/>
            <a:ext cx="785792" cy="925536"/>
            <a:chOff x="5322970" y="1144561"/>
            <a:chExt cx="785792" cy="925536"/>
          </a:xfrm>
        </p:grpSpPr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2BE90182-49DC-4E12-B286-0567E45B81C7}"/>
                </a:ext>
              </a:extLst>
            </p:cNvPr>
            <p:cNvGrpSpPr/>
            <p:nvPr/>
          </p:nvGrpSpPr>
          <p:grpSpPr>
            <a:xfrm>
              <a:off x="5434942" y="1144561"/>
              <a:ext cx="561848" cy="626740"/>
              <a:chOff x="6633543" y="2019012"/>
              <a:chExt cx="561848" cy="626740"/>
            </a:xfrm>
          </p:grpSpPr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B0D08083-17BB-4F49-AC3E-8229B4BB8EE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6633543" y="2062540"/>
                <a:ext cx="259509" cy="279095"/>
              </a:xfrm>
              <a:prstGeom prst="rect">
                <a:avLst/>
              </a:prstGeom>
            </p:spPr>
          </p:pic>
          <p:pic>
            <p:nvPicPr>
              <p:cNvPr id="67" name="Picture 66">
                <a:extLst>
                  <a:ext uri="{FF2B5EF4-FFF2-40B4-BE49-F238E27FC236}">
                    <a16:creationId xmlns:a16="http://schemas.microsoft.com/office/drawing/2014/main" id="{FEFBF0BC-D57C-487D-8398-0BD5E89562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6784272" y="2366657"/>
                <a:ext cx="259509" cy="279095"/>
              </a:xfrm>
              <a:prstGeom prst="rect">
                <a:avLst/>
              </a:prstGeom>
            </p:spPr>
          </p:pic>
          <p:pic>
            <p:nvPicPr>
              <p:cNvPr id="78" name="Picture 77">
                <a:extLst>
                  <a:ext uri="{FF2B5EF4-FFF2-40B4-BE49-F238E27FC236}">
                    <a16:creationId xmlns:a16="http://schemas.microsoft.com/office/drawing/2014/main" id="{8AC9A054-65EA-459F-BC3A-8BF73F5114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6935882" y="2019012"/>
                <a:ext cx="259509" cy="279095"/>
              </a:xfrm>
              <a:prstGeom prst="rect">
                <a:avLst/>
              </a:prstGeom>
            </p:spPr>
          </p:pic>
        </p:grp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C829E644-FC0B-4DC5-BD93-690D1B92924B}"/>
                </a:ext>
              </a:extLst>
            </p:cNvPr>
            <p:cNvSpPr txBox="1"/>
            <p:nvPr/>
          </p:nvSpPr>
          <p:spPr>
            <a:xfrm>
              <a:off x="5322970" y="1731543"/>
              <a:ext cx="78579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b-NO" sz="800"/>
                <a:t>Fagspesialist</a:t>
              </a:r>
            </a:p>
            <a:p>
              <a:pPr algn="ctr"/>
              <a:r>
                <a:rPr lang="nb-NO" sz="800"/>
                <a:t>lønn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75D134B-FFFD-4A3F-AFEA-8C5BD0CC36D4}"/>
              </a:ext>
            </a:extLst>
          </p:cNvPr>
          <p:cNvGrpSpPr/>
          <p:nvPr/>
        </p:nvGrpSpPr>
        <p:grpSpPr>
          <a:xfrm>
            <a:off x="4434328" y="2084787"/>
            <a:ext cx="912429" cy="968196"/>
            <a:chOff x="4216950" y="2082209"/>
            <a:chExt cx="912429" cy="968196"/>
          </a:xfrm>
        </p:grpSpPr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7D41F7E1-91D4-485C-B58F-2B350F95BDBF}"/>
                </a:ext>
              </a:extLst>
            </p:cNvPr>
            <p:cNvSpPr txBox="1"/>
            <p:nvPr/>
          </p:nvSpPr>
          <p:spPr>
            <a:xfrm>
              <a:off x="4216950" y="2711851"/>
              <a:ext cx="912429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b-NO" sz="800"/>
                <a:t>Fagspesialist</a:t>
              </a:r>
            </a:p>
            <a:p>
              <a:pPr algn="ctr"/>
              <a:r>
                <a:rPr lang="nb-NO" sz="800"/>
                <a:t>lønnsfunksjoner</a:t>
              </a: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98459E49-928D-4BD6-9B43-445FA142E505}"/>
                </a:ext>
              </a:extLst>
            </p:cNvPr>
            <p:cNvGrpSpPr/>
            <p:nvPr/>
          </p:nvGrpSpPr>
          <p:grpSpPr>
            <a:xfrm>
              <a:off x="4453629" y="2082209"/>
              <a:ext cx="439070" cy="620382"/>
              <a:chOff x="5497098" y="2102007"/>
              <a:chExt cx="439070" cy="620382"/>
            </a:xfrm>
          </p:grpSpPr>
          <p:pic>
            <p:nvPicPr>
              <p:cNvPr id="64" name="Picture 63">
                <a:extLst>
                  <a:ext uri="{FF2B5EF4-FFF2-40B4-BE49-F238E27FC236}">
                    <a16:creationId xmlns:a16="http://schemas.microsoft.com/office/drawing/2014/main" id="{43F798AD-B6F7-4A5F-AB0B-D426A5F41E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5497098" y="2102007"/>
                <a:ext cx="225233" cy="288890"/>
              </a:xfrm>
              <a:prstGeom prst="rect">
                <a:avLst/>
              </a:prstGeom>
            </p:spPr>
          </p:pic>
          <p:pic>
            <p:nvPicPr>
              <p:cNvPr id="65" name="Picture 64">
                <a:extLst>
                  <a:ext uri="{FF2B5EF4-FFF2-40B4-BE49-F238E27FC236}">
                    <a16:creationId xmlns:a16="http://schemas.microsoft.com/office/drawing/2014/main" id="{72FA33EF-C503-46C0-966E-299D607CB0A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5710935" y="2258267"/>
                <a:ext cx="225233" cy="288890"/>
              </a:xfrm>
              <a:prstGeom prst="rect">
                <a:avLst/>
              </a:prstGeom>
            </p:spPr>
          </p:pic>
          <p:pic>
            <p:nvPicPr>
              <p:cNvPr id="146" name="Picture 145">
                <a:extLst>
                  <a:ext uri="{FF2B5EF4-FFF2-40B4-BE49-F238E27FC236}">
                    <a16:creationId xmlns:a16="http://schemas.microsoft.com/office/drawing/2014/main" id="{7C09AA72-70E4-452E-ABD2-8786180012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5525202" y="2433499"/>
                <a:ext cx="225233" cy="288890"/>
              </a:xfrm>
              <a:prstGeom prst="rect">
                <a:avLst/>
              </a:prstGeom>
            </p:spPr>
          </p:pic>
        </p:grp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1946930-5409-4502-9C14-B21D98505BBB}"/>
              </a:ext>
            </a:extLst>
          </p:cNvPr>
          <p:cNvGrpSpPr/>
          <p:nvPr/>
        </p:nvGrpSpPr>
        <p:grpSpPr>
          <a:xfrm>
            <a:off x="6706210" y="1946697"/>
            <a:ext cx="1132041" cy="1022253"/>
            <a:chOff x="6730964" y="2021644"/>
            <a:chExt cx="1132041" cy="1022253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6B147EB-E434-4AD7-BAA4-056AABA323EB}"/>
                </a:ext>
              </a:extLst>
            </p:cNvPr>
            <p:cNvGrpSpPr/>
            <p:nvPr/>
          </p:nvGrpSpPr>
          <p:grpSpPr>
            <a:xfrm>
              <a:off x="7042671" y="2021644"/>
              <a:ext cx="508627" cy="563976"/>
              <a:chOff x="6010168" y="1960111"/>
              <a:chExt cx="508627" cy="563976"/>
            </a:xfrm>
          </p:grpSpPr>
          <p:pic>
            <p:nvPicPr>
              <p:cNvPr id="61" name="Picture 60">
                <a:extLst>
                  <a:ext uri="{FF2B5EF4-FFF2-40B4-BE49-F238E27FC236}">
                    <a16:creationId xmlns:a16="http://schemas.microsoft.com/office/drawing/2014/main" id="{E0EA3A3D-90E6-461A-B035-AD01170DD5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6010168" y="2027247"/>
                <a:ext cx="253723" cy="262627"/>
              </a:xfrm>
              <a:prstGeom prst="rect">
                <a:avLst/>
              </a:prstGeom>
            </p:spPr>
          </p:pic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88EE0C3A-9B67-4795-9340-78E64D067F8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6228862" y="2261460"/>
                <a:ext cx="253723" cy="262627"/>
              </a:xfrm>
              <a:prstGeom prst="rect">
                <a:avLst/>
              </a:pr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A96386F1-6B9C-4751-9BBB-0FBF779B78A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6265072" y="1960111"/>
                <a:ext cx="253723" cy="262627"/>
              </a:xfrm>
              <a:prstGeom prst="rect">
                <a:avLst/>
              </a:prstGeom>
            </p:spPr>
          </p:pic>
        </p:grp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52BC7840-4EC6-4BA8-A957-2A92966816A3}"/>
                </a:ext>
              </a:extLst>
            </p:cNvPr>
            <p:cNvSpPr txBox="1"/>
            <p:nvPr/>
          </p:nvSpPr>
          <p:spPr>
            <a:xfrm>
              <a:off x="6730964" y="2582232"/>
              <a:ext cx="113204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nb-NO" sz="800"/>
                <a:t>Fagspesialist</a:t>
              </a:r>
            </a:p>
            <a:p>
              <a:pPr algn="ctr"/>
              <a:r>
                <a:rPr lang="nb-NO" sz="800"/>
                <a:t>Utbetaling og </a:t>
              </a:r>
            </a:p>
            <a:p>
              <a:pPr algn="ctr"/>
              <a:r>
                <a:rPr lang="nb-NO" sz="800"/>
                <a:t>offentlig rapporter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711772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F52C0ACD-0D98-4DE6-9146-54BD5195D6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33208" y="599099"/>
            <a:ext cx="11188700" cy="334099"/>
          </a:xfrm>
        </p:spPr>
        <p:txBody>
          <a:bodyPr/>
          <a:lstStyle/>
          <a:p>
            <a:r>
              <a:rPr lang="en-US" sz="3600" err="1"/>
              <a:t>Hvorfor</a:t>
            </a:r>
            <a:r>
              <a:rPr lang="en-US" sz="3600"/>
              <a:t> </a:t>
            </a:r>
            <a:r>
              <a:rPr lang="en-US" sz="3600" err="1"/>
              <a:t>skal</a:t>
            </a:r>
            <a:r>
              <a:rPr lang="en-US" sz="3600"/>
              <a:t> NTNU </a:t>
            </a:r>
            <a:r>
              <a:rPr lang="en-US" sz="3600" err="1"/>
              <a:t>gå</a:t>
            </a:r>
            <a:r>
              <a:rPr lang="en-US" sz="3600"/>
              <a:t> for </a:t>
            </a:r>
            <a:r>
              <a:rPr lang="en-US" sz="3600" err="1"/>
              <a:t>denne</a:t>
            </a:r>
            <a:r>
              <a:rPr lang="en-US" sz="3600"/>
              <a:t> </a:t>
            </a:r>
            <a:r>
              <a:rPr lang="en-US" sz="3600" err="1"/>
              <a:t>løsningen</a:t>
            </a:r>
            <a:r>
              <a:rPr lang="en-US" sz="3600"/>
              <a:t>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83E7845-F5A4-435F-A034-85FE37A0D924}"/>
              </a:ext>
            </a:extLst>
          </p:cNvPr>
          <p:cNvSpPr>
            <a:spLocks/>
          </p:cNvSpPr>
          <p:nvPr/>
        </p:nvSpPr>
        <p:spPr>
          <a:xfrm>
            <a:off x="2073096" y="3649055"/>
            <a:ext cx="9590901" cy="2442796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wrap="square" lIns="162000" tIns="54000" rIns="72000" bIns="54000" anchor="ctr">
            <a:noAutofit/>
          </a:bodyPr>
          <a:lstStyle/>
          <a:p>
            <a:pPr defTabSz="914400">
              <a:lnSpc>
                <a:spcPct val="110000"/>
              </a:lnSpc>
            </a:pPr>
            <a:r>
              <a:rPr lang="en-IE" sz="1200" b="1" err="1">
                <a:solidFill>
                  <a:prstClr val="black"/>
                </a:solidFill>
                <a:cs typeface="Calibri" panose="020F0502020204030204" pitchFamily="34" charset="0"/>
              </a:rPr>
              <a:t>Profesjonelt</a:t>
            </a:r>
            <a:r>
              <a:rPr lang="en-IE" sz="1200" b="1">
                <a:solidFill>
                  <a:prstClr val="black"/>
                </a:solidFill>
                <a:cs typeface="Calibri" panose="020F0502020204030204" pitchFamily="34" charset="0"/>
              </a:rPr>
              <a:t> tjenestesenter (</a:t>
            </a:r>
            <a:r>
              <a:rPr lang="en-IE" sz="1200" b="1" err="1">
                <a:solidFill>
                  <a:prstClr val="black"/>
                </a:solidFill>
                <a:cs typeface="Calibri" panose="020F0502020204030204" pitchFamily="34" charset="0"/>
              </a:rPr>
              <a:t>fellestjenester</a:t>
            </a:r>
            <a:r>
              <a:rPr lang="en-IE" sz="1200" b="1">
                <a:solidFill>
                  <a:prstClr val="black"/>
                </a:solidFill>
                <a:cs typeface="Calibri" panose="020F0502020204030204" pitchFamily="34" charset="0"/>
              </a:rPr>
              <a:t>)</a:t>
            </a:r>
          </a:p>
          <a:p>
            <a:pPr marL="285750" indent="-2857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Det blir mulighet for fordypning i rollen/faget gjennom dedikert tid til å utføre og utvikle rollen, dette vil bidra til at NTNU opererer etter beste praksis</a:t>
            </a:r>
          </a:p>
          <a:p>
            <a:pPr marL="285750" indent="-2857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NTNU vil fremstå som en mer attraktiv arbeidsgiver innenfor fagfeltet med en høyere grad av profesjonalisering av sine tjenesteytelser</a:t>
            </a:r>
          </a:p>
          <a:p>
            <a:pPr marL="285750" indent="-2857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NTNU vil få medarbeidere med mer kompetanse innen komplekse oppgaver</a:t>
            </a:r>
          </a:p>
          <a:p>
            <a:pPr marL="285750" indent="-2857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Økt profesjonalisering kan bidra til mindre behov for bruk av eksterne konsulenter</a:t>
            </a:r>
          </a:p>
          <a:p>
            <a:pPr marL="285750" indent="-2857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Det blir enklere å få helhetsperspektiv på fagområde Lønn og Lønnsnær HR og se dette i sammenheng med andre deler av NTNU</a:t>
            </a:r>
          </a:p>
          <a:p>
            <a:pPr marL="285750" indent="-2857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Det er flere andre prosesser på NTNU som kan passe inn i en lignende løsning</a:t>
            </a:r>
          </a:p>
          <a:p>
            <a:pPr marL="285750" indent="-2857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Det vil bli en økt fleksibel for forbedringer og nye endringer</a:t>
            </a:r>
          </a:p>
          <a:p>
            <a:pPr marL="285750" indent="-2857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Internkontrollen vil blir forbedret</a:t>
            </a:r>
          </a:p>
          <a:p>
            <a:pPr marL="285750" indent="-2857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Det vil bli en større grad av rendyrking av HR funksjonen ute i organisasjonen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BB796F0-2DE6-45B1-851B-D8991F423CF4}"/>
              </a:ext>
            </a:extLst>
          </p:cNvPr>
          <p:cNvSpPr>
            <a:spLocks/>
          </p:cNvSpPr>
          <p:nvPr/>
        </p:nvSpPr>
        <p:spPr bwMode="gray">
          <a:xfrm>
            <a:off x="1571862" y="4512528"/>
            <a:ext cx="548640" cy="54864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02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CD23CFE-3F31-4BA9-B26F-B9B5B351518E}"/>
              </a:ext>
            </a:extLst>
          </p:cNvPr>
          <p:cNvSpPr>
            <a:spLocks/>
          </p:cNvSpPr>
          <p:nvPr/>
        </p:nvSpPr>
        <p:spPr>
          <a:xfrm>
            <a:off x="2073096" y="1596128"/>
            <a:ext cx="9590901" cy="1822823"/>
          </a:xfrm>
          <a:prstGeom prst="rect">
            <a:avLst/>
          </a:prstGeom>
          <a:ln w="12700">
            <a:solidFill>
              <a:schemeClr val="accent2"/>
            </a:solidFill>
          </a:ln>
        </p:spPr>
        <p:txBody>
          <a:bodyPr wrap="square" lIns="162000" tIns="54000" rIns="72000" bIns="5400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E" sz="1200" b="1">
                <a:solidFill>
                  <a:prstClr val="black"/>
                </a:solidFill>
                <a:ea typeface="Open Sans Semibold" panose="020B0706030804020204" pitchFamily="34" charset="0"/>
                <a:cs typeface="Calibri" panose="020F0502020204030204" pitchFamily="34" charset="0"/>
              </a:rPr>
              <a:t>Kjernevirksomheten ved NTNU</a:t>
            </a:r>
            <a:endParaRPr kumimoji="0" lang="en-IE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Open Sans Semibold" panose="020B0706030804020204" pitchFamily="34" charset="0"/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Kjernevirksomheten får direktekontakt med fageksperter i et profesjonelt fagmiljø med dedikerte ressurs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Det blir høyere grad av objektivitet i saksbehandling, lik praksis og likebehandling i hele NTN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Det vil bli en økt robusthet og raskere responsti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200"/>
              <a:t>Saksbehandling vil i mindre grad være personavhengi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nb-NO" sz="1200"/>
              <a:t>Mindre fare for forsinkelser ved fravæ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En sentralisering vil frigjøre ressurser som igjen kan rettes mot kjernevirksomhe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Ved å være eksplisitt på hva som er støttefunksjoner vil det også bli enda tydeligere fokus på hva som er kjernevirksomhet hos NTN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Det vil bli en bedre tydelighet i hvilken støtte kjernevirksomheten trenger gjennom definerte brukerbehov; etablering av SLA osv. 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4F0DE697-EE87-4D12-9875-D2453715F08D}"/>
              </a:ext>
            </a:extLst>
          </p:cNvPr>
          <p:cNvSpPr>
            <a:spLocks/>
          </p:cNvSpPr>
          <p:nvPr/>
        </p:nvSpPr>
        <p:spPr bwMode="gray">
          <a:xfrm>
            <a:off x="1571862" y="2252558"/>
            <a:ext cx="548640" cy="548640"/>
          </a:xfrm>
          <a:prstGeom prst="ellipse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1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01</a:t>
            </a:r>
          </a:p>
        </p:txBody>
      </p:sp>
      <p:grpSp>
        <p:nvGrpSpPr>
          <p:cNvPr id="25" name="Group 360">
            <a:extLst>
              <a:ext uri="{FF2B5EF4-FFF2-40B4-BE49-F238E27FC236}">
                <a16:creationId xmlns:a16="http://schemas.microsoft.com/office/drawing/2014/main" id="{7B424503-728B-4986-8C7A-8D08147061B7}"/>
              </a:ext>
            </a:extLst>
          </p:cNvPr>
          <p:cNvGrpSpPr>
            <a:grpSpLocks/>
          </p:cNvGrpSpPr>
          <p:nvPr/>
        </p:nvGrpSpPr>
        <p:grpSpPr bwMode="auto">
          <a:xfrm>
            <a:off x="620821" y="356177"/>
            <a:ext cx="640079" cy="640080"/>
            <a:chOff x="1935" y="1199"/>
            <a:chExt cx="341" cy="340"/>
          </a:xfrm>
          <a:solidFill>
            <a:schemeClr val="accent1"/>
          </a:solidFill>
        </p:grpSpPr>
        <p:sp>
          <p:nvSpPr>
            <p:cNvPr id="26" name="Freeform 361">
              <a:extLst>
                <a:ext uri="{FF2B5EF4-FFF2-40B4-BE49-F238E27FC236}">
                  <a16:creationId xmlns:a16="http://schemas.microsoft.com/office/drawing/2014/main" id="{0F846FC7-9C27-471C-904D-89B1E2A18D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98" y="1263"/>
              <a:ext cx="214" cy="206"/>
            </a:xfrm>
            <a:custGeom>
              <a:avLst/>
              <a:gdLst>
                <a:gd name="T0" fmla="*/ 257 w 321"/>
                <a:gd name="T1" fmla="*/ 309 h 310"/>
                <a:gd name="T2" fmla="*/ 251 w 321"/>
                <a:gd name="T3" fmla="*/ 308 h 310"/>
                <a:gd name="T4" fmla="*/ 161 w 321"/>
                <a:gd name="T5" fmla="*/ 257 h 310"/>
                <a:gd name="T6" fmla="*/ 70 w 321"/>
                <a:gd name="T7" fmla="*/ 308 h 310"/>
                <a:gd name="T8" fmla="*/ 58 w 321"/>
                <a:gd name="T9" fmla="*/ 307 h 310"/>
                <a:gd name="T10" fmla="*/ 54 w 321"/>
                <a:gd name="T11" fmla="*/ 296 h 310"/>
                <a:gd name="T12" fmla="*/ 74 w 321"/>
                <a:gd name="T13" fmla="*/ 195 h 310"/>
                <a:gd name="T14" fmla="*/ 4 w 321"/>
                <a:gd name="T15" fmla="*/ 125 h 310"/>
                <a:gd name="T16" fmla="*/ 1 w 321"/>
                <a:gd name="T17" fmla="*/ 113 h 310"/>
                <a:gd name="T18" fmla="*/ 10 w 321"/>
                <a:gd name="T19" fmla="*/ 106 h 310"/>
                <a:gd name="T20" fmla="*/ 111 w 321"/>
                <a:gd name="T21" fmla="*/ 96 h 310"/>
                <a:gd name="T22" fmla="*/ 151 w 321"/>
                <a:gd name="T23" fmla="*/ 6 h 310"/>
                <a:gd name="T24" fmla="*/ 161 w 321"/>
                <a:gd name="T25" fmla="*/ 0 h 310"/>
                <a:gd name="T26" fmla="*/ 170 w 321"/>
                <a:gd name="T27" fmla="*/ 6 h 310"/>
                <a:gd name="T28" fmla="*/ 211 w 321"/>
                <a:gd name="T29" fmla="*/ 96 h 310"/>
                <a:gd name="T30" fmla="*/ 311 w 321"/>
                <a:gd name="T31" fmla="*/ 106 h 310"/>
                <a:gd name="T32" fmla="*/ 320 w 321"/>
                <a:gd name="T33" fmla="*/ 113 h 310"/>
                <a:gd name="T34" fmla="*/ 318 w 321"/>
                <a:gd name="T35" fmla="*/ 125 h 310"/>
                <a:gd name="T36" fmla="*/ 247 w 321"/>
                <a:gd name="T37" fmla="*/ 195 h 310"/>
                <a:gd name="T38" fmla="*/ 267 w 321"/>
                <a:gd name="T39" fmla="*/ 296 h 310"/>
                <a:gd name="T40" fmla="*/ 263 w 321"/>
                <a:gd name="T41" fmla="*/ 307 h 310"/>
                <a:gd name="T42" fmla="*/ 257 w 321"/>
                <a:gd name="T43" fmla="*/ 309 h 310"/>
                <a:gd name="T44" fmla="*/ 161 w 321"/>
                <a:gd name="T45" fmla="*/ 234 h 310"/>
                <a:gd name="T46" fmla="*/ 166 w 321"/>
                <a:gd name="T47" fmla="*/ 236 h 310"/>
                <a:gd name="T48" fmla="*/ 242 w 321"/>
                <a:gd name="T49" fmla="*/ 278 h 310"/>
                <a:gd name="T50" fmla="*/ 225 w 321"/>
                <a:gd name="T51" fmla="*/ 194 h 310"/>
                <a:gd name="T52" fmla="*/ 228 w 321"/>
                <a:gd name="T53" fmla="*/ 184 h 310"/>
                <a:gd name="T54" fmla="*/ 287 w 321"/>
                <a:gd name="T55" fmla="*/ 125 h 310"/>
                <a:gd name="T56" fmla="*/ 202 w 321"/>
                <a:gd name="T57" fmla="*/ 117 h 310"/>
                <a:gd name="T58" fmla="*/ 194 w 321"/>
                <a:gd name="T59" fmla="*/ 111 h 310"/>
                <a:gd name="T60" fmla="*/ 161 w 321"/>
                <a:gd name="T61" fmla="*/ 37 h 310"/>
                <a:gd name="T62" fmla="*/ 128 w 321"/>
                <a:gd name="T63" fmla="*/ 111 h 310"/>
                <a:gd name="T64" fmla="*/ 119 w 321"/>
                <a:gd name="T65" fmla="*/ 117 h 310"/>
                <a:gd name="T66" fmla="*/ 35 w 321"/>
                <a:gd name="T67" fmla="*/ 125 h 310"/>
                <a:gd name="T68" fmla="*/ 94 w 321"/>
                <a:gd name="T69" fmla="*/ 184 h 310"/>
                <a:gd name="T70" fmla="*/ 96 w 321"/>
                <a:gd name="T71" fmla="*/ 194 h 310"/>
                <a:gd name="T72" fmla="*/ 80 w 321"/>
                <a:gd name="T73" fmla="*/ 278 h 310"/>
                <a:gd name="T74" fmla="*/ 155 w 321"/>
                <a:gd name="T75" fmla="*/ 236 h 310"/>
                <a:gd name="T76" fmla="*/ 161 w 321"/>
                <a:gd name="T77" fmla="*/ 23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1" h="310">
                  <a:moveTo>
                    <a:pt x="257" y="309"/>
                  </a:moveTo>
                  <a:cubicBezTo>
                    <a:pt x="255" y="309"/>
                    <a:pt x="253" y="309"/>
                    <a:pt x="251" y="308"/>
                  </a:cubicBezTo>
                  <a:cubicBezTo>
                    <a:pt x="161" y="257"/>
                    <a:pt x="161" y="257"/>
                    <a:pt x="161" y="257"/>
                  </a:cubicBezTo>
                  <a:cubicBezTo>
                    <a:pt x="70" y="308"/>
                    <a:pt x="70" y="308"/>
                    <a:pt x="70" y="308"/>
                  </a:cubicBezTo>
                  <a:cubicBezTo>
                    <a:pt x="66" y="310"/>
                    <a:pt x="62" y="309"/>
                    <a:pt x="58" y="307"/>
                  </a:cubicBezTo>
                  <a:cubicBezTo>
                    <a:pt x="55" y="305"/>
                    <a:pt x="53" y="300"/>
                    <a:pt x="54" y="296"/>
                  </a:cubicBezTo>
                  <a:cubicBezTo>
                    <a:pt x="74" y="195"/>
                    <a:pt x="74" y="195"/>
                    <a:pt x="74" y="195"/>
                  </a:cubicBezTo>
                  <a:cubicBezTo>
                    <a:pt x="4" y="125"/>
                    <a:pt x="4" y="125"/>
                    <a:pt x="4" y="125"/>
                  </a:cubicBezTo>
                  <a:cubicBezTo>
                    <a:pt x="1" y="122"/>
                    <a:pt x="0" y="117"/>
                    <a:pt x="1" y="113"/>
                  </a:cubicBezTo>
                  <a:cubicBezTo>
                    <a:pt x="3" y="110"/>
                    <a:pt x="6" y="107"/>
                    <a:pt x="10" y="106"/>
                  </a:cubicBezTo>
                  <a:cubicBezTo>
                    <a:pt x="111" y="96"/>
                    <a:pt x="111" y="96"/>
                    <a:pt x="111" y="96"/>
                  </a:cubicBezTo>
                  <a:cubicBezTo>
                    <a:pt x="151" y="6"/>
                    <a:pt x="151" y="6"/>
                    <a:pt x="151" y="6"/>
                  </a:cubicBezTo>
                  <a:cubicBezTo>
                    <a:pt x="153" y="2"/>
                    <a:pt x="156" y="0"/>
                    <a:pt x="161" y="0"/>
                  </a:cubicBezTo>
                  <a:cubicBezTo>
                    <a:pt x="165" y="0"/>
                    <a:pt x="169" y="2"/>
                    <a:pt x="170" y="6"/>
                  </a:cubicBezTo>
                  <a:cubicBezTo>
                    <a:pt x="211" y="96"/>
                    <a:pt x="211" y="96"/>
                    <a:pt x="211" y="96"/>
                  </a:cubicBezTo>
                  <a:cubicBezTo>
                    <a:pt x="311" y="106"/>
                    <a:pt x="311" y="106"/>
                    <a:pt x="311" y="106"/>
                  </a:cubicBezTo>
                  <a:cubicBezTo>
                    <a:pt x="315" y="107"/>
                    <a:pt x="319" y="110"/>
                    <a:pt x="320" y="113"/>
                  </a:cubicBezTo>
                  <a:cubicBezTo>
                    <a:pt x="321" y="117"/>
                    <a:pt x="320" y="122"/>
                    <a:pt x="318" y="125"/>
                  </a:cubicBezTo>
                  <a:cubicBezTo>
                    <a:pt x="247" y="195"/>
                    <a:pt x="247" y="195"/>
                    <a:pt x="247" y="195"/>
                  </a:cubicBezTo>
                  <a:cubicBezTo>
                    <a:pt x="267" y="296"/>
                    <a:pt x="267" y="296"/>
                    <a:pt x="267" y="296"/>
                  </a:cubicBezTo>
                  <a:cubicBezTo>
                    <a:pt x="268" y="300"/>
                    <a:pt x="266" y="305"/>
                    <a:pt x="263" y="307"/>
                  </a:cubicBezTo>
                  <a:cubicBezTo>
                    <a:pt x="261" y="308"/>
                    <a:pt x="259" y="309"/>
                    <a:pt x="257" y="309"/>
                  </a:cubicBezTo>
                  <a:close/>
                  <a:moveTo>
                    <a:pt x="161" y="234"/>
                  </a:moveTo>
                  <a:cubicBezTo>
                    <a:pt x="162" y="234"/>
                    <a:pt x="164" y="235"/>
                    <a:pt x="166" y="236"/>
                  </a:cubicBezTo>
                  <a:cubicBezTo>
                    <a:pt x="242" y="278"/>
                    <a:pt x="242" y="278"/>
                    <a:pt x="242" y="278"/>
                  </a:cubicBezTo>
                  <a:cubicBezTo>
                    <a:pt x="225" y="194"/>
                    <a:pt x="225" y="194"/>
                    <a:pt x="225" y="194"/>
                  </a:cubicBezTo>
                  <a:cubicBezTo>
                    <a:pt x="224" y="190"/>
                    <a:pt x="225" y="187"/>
                    <a:pt x="228" y="184"/>
                  </a:cubicBezTo>
                  <a:cubicBezTo>
                    <a:pt x="287" y="125"/>
                    <a:pt x="287" y="125"/>
                    <a:pt x="287" y="125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198" y="117"/>
                    <a:pt x="195" y="114"/>
                    <a:pt x="194" y="111"/>
                  </a:cubicBezTo>
                  <a:cubicBezTo>
                    <a:pt x="161" y="37"/>
                    <a:pt x="161" y="37"/>
                    <a:pt x="161" y="37"/>
                  </a:cubicBezTo>
                  <a:cubicBezTo>
                    <a:pt x="128" y="111"/>
                    <a:pt x="128" y="111"/>
                    <a:pt x="128" y="111"/>
                  </a:cubicBezTo>
                  <a:cubicBezTo>
                    <a:pt x="126" y="114"/>
                    <a:pt x="123" y="117"/>
                    <a:pt x="119" y="117"/>
                  </a:cubicBezTo>
                  <a:cubicBezTo>
                    <a:pt x="35" y="125"/>
                    <a:pt x="35" y="125"/>
                    <a:pt x="35" y="125"/>
                  </a:cubicBezTo>
                  <a:cubicBezTo>
                    <a:pt x="94" y="184"/>
                    <a:pt x="94" y="184"/>
                    <a:pt x="94" y="184"/>
                  </a:cubicBezTo>
                  <a:cubicBezTo>
                    <a:pt x="96" y="187"/>
                    <a:pt x="97" y="190"/>
                    <a:pt x="96" y="194"/>
                  </a:cubicBezTo>
                  <a:cubicBezTo>
                    <a:pt x="80" y="278"/>
                    <a:pt x="80" y="278"/>
                    <a:pt x="80" y="278"/>
                  </a:cubicBezTo>
                  <a:cubicBezTo>
                    <a:pt x="155" y="236"/>
                    <a:pt x="155" y="236"/>
                    <a:pt x="155" y="236"/>
                  </a:cubicBezTo>
                  <a:cubicBezTo>
                    <a:pt x="157" y="235"/>
                    <a:pt x="159" y="234"/>
                    <a:pt x="161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  <p:sp>
          <p:nvSpPr>
            <p:cNvPr id="27" name="Freeform 362">
              <a:extLst>
                <a:ext uri="{FF2B5EF4-FFF2-40B4-BE49-F238E27FC236}">
                  <a16:creationId xmlns:a16="http://schemas.microsoft.com/office/drawing/2014/main" id="{438EB8D5-E794-49A3-96B0-835483DB85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5" y="1199"/>
              <a:ext cx="341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endParaRPr>
            </a:p>
          </p:txBody>
        </p: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9E553D9-3562-45A7-BE4B-0F12FAA0490F}"/>
              </a:ext>
            </a:extLst>
          </p:cNvPr>
          <p:cNvCxnSpPr>
            <a:cxnSpLocks/>
          </p:cNvCxnSpPr>
          <p:nvPr/>
        </p:nvCxnSpPr>
        <p:spPr>
          <a:xfrm>
            <a:off x="940867" y="996257"/>
            <a:ext cx="9084" cy="3790591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A735D38-741F-4EFB-826C-6F87FD459AB4}"/>
              </a:ext>
            </a:extLst>
          </p:cNvPr>
          <p:cNvCxnSpPr>
            <a:cxnSpLocks/>
          </p:cNvCxnSpPr>
          <p:nvPr/>
        </p:nvCxnSpPr>
        <p:spPr>
          <a:xfrm>
            <a:off x="949951" y="2526878"/>
            <a:ext cx="62191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697F6E2-C26B-4E5F-B7F9-95C6E9325040}"/>
              </a:ext>
            </a:extLst>
          </p:cNvPr>
          <p:cNvCxnSpPr>
            <a:cxnSpLocks/>
          </p:cNvCxnSpPr>
          <p:nvPr/>
        </p:nvCxnSpPr>
        <p:spPr>
          <a:xfrm>
            <a:off x="949951" y="4786848"/>
            <a:ext cx="62191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custData r:id="rId1"/>
      <p:custData r:id="rId2"/>
      <p:tags r:id="rId3"/>
    </p:custDataLst>
    <p:extLst>
      <p:ext uri="{BB962C8B-B14F-4D97-AF65-F5344CB8AC3E}">
        <p14:creationId xmlns:p14="http://schemas.microsoft.com/office/powerpoint/2010/main" val="802616182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DFB6676-D16B-4D04-8C3A-E846893372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DFB6676-D16B-4D04-8C3A-E846893372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971F816-F5AE-4E5D-95B6-842C9CE7B4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55" name="Table 154">
            <a:extLst>
              <a:ext uri="{FF2B5EF4-FFF2-40B4-BE49-F238E27FC236}">
                <a16:creationId xmlns:a16="http://schemas.microsoft.com/office/drawing/2014/main" id="{74BB709A-4FAF-4BC4-BA36-E98E189871F7}"/>
              </a:ext>
            </a:extLst>
          </p:cNvPr>
          <p:cNvGraphicFramePr>
            <a:graphicFrameLocks noGrp="1"/>
          </p:cNvGraphicFramePr>
          <p:nvPr/>
        </p:nvGraphicFramePr>
        <p:xfrm>
          <a:off x="898288" y="1091853"/>
          <a:ext cx="10803549" cy="3780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321287">
                  <a:extLst>
                    <a:ext uri="{9D8B030D-6E8A-4147-A177-3AD203B41FA5}">
                      <a16:colId xmlns:a16="http://schemas.microsoft.com/office/drawing/2014/main" val="3499541297"/>
                    </a:ext>
                  </a:extLst>
                </a:gridCol>
                <a:gridCol w="7482262">
                  <a:extLst>
                    <a:ext uri="{9D8B030D-6E8A-4147-A177-3AD203B41FA5}">
                      <a16:colId xmlns:a16="http://schemas.microsoft.com/office/drawing/2014/main" val="1185222326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8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Risiko</a:t>
                      </a:r>
                    </a:p>
                  </a:txBody>
                  <a:tcPr marL="48000" marR="48000" marT="48000" marB="48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8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Mitigerende tiltak</a:t>
                      </a:r>
                    </a:p>
                  </a:txBody>
                  <a:tcPr marL="48000" marR="48000" marT="48000" marB="48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73177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Lavere tilgjengelighet på fagekspertise og brukerstøtte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Etablere tydelige kommunikasjonslinjer. Bruke SLA aktivt. Sikre at man har nok ansatte. Tilgjengelighet på flere flater. 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823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Oppgaver henger igjen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Gjøre en systematisk kartlegging av oppgaver og plassere hvem som gjør hva i organisasjonen. Sikre gode rolleavklaringer og opplæring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592522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Motstridende interesser i organisasjonen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Tidlig involvering og medvirkning. Bevist kommunikasjon av løsningsforslag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249760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Mindre kjennskap til særtrekk ved instituttene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Etablere kontaktpersoner i tjenestesenteret med ulike enheter som ansvarsområde. Tjenestesenteret involverer seg aktivt ute i organisasjonen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22952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Får ikke med rett kompetanse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God kommunikasjon rundt hva rollene og tjenestesenteret skal gjøre. Skape forutsigbarhet for organisasjonen</a:t>
                      </a:r>
                      <a:endParaRPr lang="nb-NO" sz="1200" b="0" i="0" u="none" strike="noStrike">
                        <a:solidFill>
                          <a:srgbClr val="FF0000"/>
                        </a:solidFill>
                        <a:effectLst/>
                        <a:latin typeface="Arial (body)"/>
                      </a:endParaRP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8655016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Delt eierskap til prosessene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Definere tydelig prosesseierskap, og utvikle gode arenaer for samarbeid på tvers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6873493"/>
                  </a:ext>
                </a:extLst>
              </a:tr>
            </a:tbl>
          </a:graphicData>
        </a:graphic>
      </p:graphicFrame>
      <p:sp>
        <p:nvSpPr>
          <p:cNvPr id="175" name="Oval 174">
            <a:extLst>
              <a:ext uri="{FF2B5EF4-FFF2-40B4-BE49-F238E27FC236}">
                <a16:creationId xmlns:a16="http://schemas.microsoft.com/office/drawing/2014/main" id="{042EF50C-F0E8-4B21-88B2-BA4047F146A9}"/>
              </a:ext>
            </a:extLst>
          </p:cNvPr>
          <p:cNvSpPr/>
          <p:nvPr/>
        </p:nvSpPr>
        <p:spPr>
          <a:xfrm>
            <a:off x="469529" y="1712961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6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599B5FB5-6681-4C6B-A58C-C91D561C9A28}"/>
              </a:ext>
            </a:extLst>
          </p:cNvPr>
          <p:cNvSpPr/>
          <p:nvPr/>
        </p:nvSpPr>
        <p:spPr>
          <a:xfrm>
            <a:off x="469529" y="2249752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6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44" name="Oval 243">
            <a:extLst>
              <a:ext uri="{FF2B5EF4-FFF2-40B4-BE49-F238E27FC236}">
                <a16:creationId xmlns:a16="http://schemas.microsoft.com/office/drawing/2014/main" id="{A3869B37-8D99-4F4C-BE02-A88D33A949C1}"/>
              </a:ext>
            </a:extLst>
          </p:cNvPr>
          <p:cNvSpPr/>
          <p:nvPr/>
        </p:nvSpPr>
        <p:spPr>
          <a:xfrm>
            <a:off x="469529" y="2786543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6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245" name="Oval 244">
            <a:extLst>
              <a:ext uri="{FF2B5EF4-FFF2-40B4-BE49-F238E27FC236}">
                <a16:creationId xmlns:a16="http://schemas.microsoft.com/office/drawing/2014/main" id="{2F870C56-B897-44D4-B60F-3689CD922775}"/>
              </a:ext>
            </a:extLst>
          </p:cNvPr>
          <p:cNvSpPr/>
          <p:nvPr/>
        </p:nvSpPr>
        <p:spPr>
          <a:xfrm>
            <a:off x="469529" y="3323334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60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46" name="Oval 245">
            <a:extLst>
              <a:ext uri="{FF2B5EF4-FFF2-40B4-BE49-F238E27FC236}">
                <a16:creationId xmlns:a16="http://schemas.microsoft.com/office/drawing/2014/main" id="{47DBDBF3-B398-49E8-8437-9A593FA4310E}"/>
              </a:ext>
            </a:extLst>
          </p:cNvPr>
          <p:cNvSpPr/>
          <p:nvPr/>
        </p:nvSpPr>
        <p:spPr>
          <a:xfrm>
            <a:off x="469529" y="3860125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60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47" name="Oval 246">
            <a:extLst>
              <a:ext uri="{FF2B5EF4-FFF2-40B4-BE49-F238E27FC236}">
                <a16:creationId xmlns:a16="http://schemas.microsoft.com/office/drawing/2014/main" id="{8829083A-2A12-4508-B670-E26CC54AF0DA}"/>
              </a:ext>
            </a:extLst>
          </p:cNvPr>
          <p:cNvSpPr/>
          <p:nvPr/>
        </p:nvSpPr>
        <p:spPr>
          <a:xfrm>
            <a:off x="469529" y="4396918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60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56" name="Title 17">
            <a:extLst>
              <a:ext uri="{FF2B5EF4-FFF2-40B4-BE49-F238E27FC236}">
                <a16:creationId xmlns:a16="http://schemas.microsoft.com/office/drawing/2014/main" id="{3F92EFE4-E06B-493C-BE91-5BB0EB0C3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584775"/>
          </a:xfrm>
        </p:spPr>
        <p:txBody>
          <a:bodyPr/>
          <a:lstStyle/>
          <a:p>
            <a:r>
              <a:rPr lang="nb-NO" sz="3200"/>
              <a:t>Risikovurdering av løsningsforslaget</a:t>
            </a:r>
          </a:p>
        </p:txBody>
      </p:sp>
    </p:spTree>
    <p:extLst>
      <p:ext uri="{BB962C8B-B14F-4D97-AF65-F5344CB8AC3E}">
        <p14:creationId xmlns:p14="http://schemas.microsoft.com/office/powerpoint/2010/main" val="14707929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DFB6676-D16B-4D04-8C3A-E846893372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DFB6676-D16B-4D04-8C3A-E846893372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971F816-F5AE-4E5D-95B6-842C9CE7B4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55" name="Table 154">
            <a:extLst>
              <a:ext uri="{FF2B5EF4-FFF2-40B4-BE49-F238E27FC236}">
                <a16:creationId xmlns:a16="http://schemas.microsoft.com/office/drawing/2014/main" id="{74BB709A-4FAF-4BC4-BA36-E98E189871F7}"/>
              </a:ext>
            </a:extLst>
          </p:cNvPr>
          <p:cNvGraphicFramePr>
            <a:graphicFrameLocks noGrp="1"/>
          </p:cNvGraphicFramePr>
          <p:nvPr/>
        </p:nvGraphicFramePr>
        <p:xfrm>
          <a:off x="898288" y="1091853"/>
          <a:ext cx="3321287" cy="3780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321287">
                  <a:extLst>
                    <a:ext uri="{9D8B030D-6E8A-4147-A177-3AD203B41FA5}">
                      <a16:colId xmlns:a16="http://schemas.microsoft.com/office/drawing/2014/main" val="3499541297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l" fontAlgn="b"/>
                      <a:endParaRPr lang="nb-NO" sz="1800" b="0" i="0" u="none" strike="noStrike">
                        <a:solidFill>
                          <a:srgbClr val="000000"/>
                        </a:solidFill>
                        <a:effectLst/>
                        <a:latin typeface="Arial (body)"/>
                      </a:endParaRPr>
                    </a:p>
                  </a:txBody>
                  <a:tcPr marL="48000" marR="48000" marT="48000" marB="48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73177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Lavere tilgjengelighet på fagekspertise og brukerstøtte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823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Oppgaver henger igjen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592522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Motstridende interesser i organisasjonen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249760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Mindre kjennskap til særtrekk ved instituttene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22952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Får ikke med rett kompetanse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8655016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Delt eierskap til prosessene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6873493"/>
                  </a:ext>
                </a:extLst>
              </a:tr>
            </a:tbl>
          </a:graphicData>
        </a:graphic>
      </p:graphicFrame>
      <p:sp>
        <p:nvSpPr>
          <p:cNvPr id="175" name="Oval 174">
            <a:extLst>
              <a:ext uri="{FF2B5EF4-FFF2-40B4-BE49-F238E27FC236}">
                <a16:creationId xmlns:a16="http://schemas.microsoft.com/office/drawing/2014/main" id="{042EF50C-F0E8-4B21-88B2-BA4047F146A9}"/>
              </a:ext>
            </a:extLst>
          </p:cNvPr>
          <p:cNvSpPr/>
          <p:nvPr/>
        </p:nvSpPr>
        <p:spPr>
          <a:xfrm>
            <a:off x="469529" y="1712961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6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599B5FB5-6681-4C6B-A58C-C91D561C9A28}"/>
              </a:ext>
            </a:extLst>
          </p:cNvPr>
          <p:cNvSpPr/>
          <p:nvPr/>
        </p:nvSpPr>
        <p:spPr>
          <a:xfrm>
            <a:off x="469529" y="2249752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6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45" name="Oval 244">
            <a:extLst>
              <a:ext uri="{FF2B5EF4-FFF2-40B4-BE49-F238E27FC236}">
                <a16:creationId xmlns:a16="http://schemas.microsoft.com/office/drawing/2014/main" id="{2F870C56-B897-44D4-B60F-3689CD922775}"/>
              </a:ext>
            </a:extLst>
          </p:cNvPr>
          <p:cNvSpPr/>
          <p:nvPr/>
        </p:nvSpPr>
        <p:spPr>
          <a:xfrm>
            <a:off x="469529" y="3323334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60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46" name="Oval 245">
            <a:extLst>
              <a:ext uri="{FF2B5EF4-FFF2-40B4-BE49-F238E27FC236}">
                <a16:creationId xmlns:a16="http://schemas.microsoft.com/office/drawing/2014/main" id="{47DBDBF3-B398-49E8-8437-9A593FA4310E}"/>
              </a:ext>
            </a:extLst>
          </p:cNvPr>
          <p:cNvSpPr/>
          <p:nvPr/>
        </p:nvSpPr>
        <p:spPr>
          <a:xfrm>
            <a:off x="469529" y="3860125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60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47" name="Oval 246">
            <a:extLst>
              <a:ext uri="{FF2B5EF4-FFF2-40B4-BE49-F238E27FC236}">
                <a16:creationId xmlns:a16="http://schemas.microsoft.com/office/drawing/2014/main" id="{8829083A-2A12-4508-B670-E26CC54AF0DA}"/>
              </a:ext>
            </a:extLst>
          </p:cNvPr>
          <p:cNvSpPr/>
          <p:nvPr/>
        </p:nvSpPr>
        <p:spPr>
          <a:xfrm>
            <a:off x="469529" y="4396918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60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256" name="Title 17">
            <a:extLst>
              <a:ext uri="{FF2B5EF4-FFF2-40B4-BE49-F238E27FC236}">
                <a16:creationId xmlns:a16="http://schemas.microsoft.com/office/drawing/2014/main" id="{3F92EFE4-E06B-493C-BE91-5BB0EB0C3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584775"/>
          </a:xfrm>
        </p:spPr>
        <p:txBody>
          <a:bodyPr/>
          <a:lstStyle/>
          <a:p>
            <a:r>
              <a:rPr lang="nb-NO" sz="3200"/>
              <a:t>Risiko</a:t>
            </a:r>
          </a:p>
        </p:txBody>
      </p:sp>
      <p:graphicFrame>
        <p:nvGraphicFramePr>
          <p:cNvPr id="12" name="Table 13">
            <a:extLst>
              <a:ext uri="{FF2B5EF4-FFF2-40B4-BE49-F238E27FC236}">
                <a16:creationId xmlns:a16="http://schemas.microsoft.com/office/drawing/2014/main" id="{A2123ACE-8159-4A7C-AE0F-5BD4E451041B}"/>
              </a:ext>
            </a:extLst>
          </p:cNvPr>
          <p:cNvGraphicFramePr>
            <a:graphicFrameLocks noGrp="1"/>
          </p:cNvGraphicFramePr>
          <p:nvPr/>
        </p:nvGraphicFramePr>
        <p:xfrm>
          <a:off x="5954539" y="1403651"/>
          <a:ext cx="5443560" cy="42545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8712">
                  <a:extLst>
                    <a:ext uri="{9D8B030D-6E8A-4147-A177-3AD203B41FA5}">
                      <a16:colId xmlns:a16="http://schemas.microsoft.com/office/drawing/2014/main" val="1754513691"/>
                    </a:ext>
                  </a:extLst>
                </a:gridCol>
                <a:gridCol w="1088712">
                  <a:extLst>
                    <a:ext uri="{9D8B030D-6E8A-4147-A177-3AD203B41FA5}">
                      <a16:colId xmlns:a16="http://schemas.microsoft.com/office/drawing/2014/main" val="1507093571"/>
                    </a:ext>
                  </a:extLst>
                </a:gridCol>
                <a:gridCol w="1088712">
                  <a:extLst>
                    <a:ext uri="{9D8B030D-6E8A-4147-A177-3AD203B41FA5}">
                      <a16:colId xmlns:a16="http://schemas.microsoft.com/office/drawing/2014/main" val="2391704220"/>
                    </a:ext>
                  </a:extLst>
                </a:gridCol>
                <a:gridCol w="1088712">
                  <a:extLst>
                    <a:ext uri="{9D8B030D-6E8A-4147-A177-3AD203B41FA5}">
                      <a16:colId xmlns:a16="http://schemas.microsoft.com/office/drawing/2014/main" val="3072935324"/>
                    </a:ext>
                  </a:extLst>
                </a:gridCol>
                <a:gridCol w="1088712">
                  <a:extLst>
                    <a:ext uri="{9D8B030D-6E8A-4147-A177-3AD203B41FA5}">
                      <a16:colId xmlns:a16="http://schemas.microsoft.com/office/drawing/2014/main" val="1165241751"/>
                    </a:ext>
                  </a:extLst>
                </a:gridCol>
              </a:tblGrid>
              <a:tr h="850901"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733754"/>
                  </a:ext>
                </a:extLst>
              </a:tr>
              <a:tr h="850901"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6436718"/>
                  </a:ext>
                </a:extLst>
              </a:tr>
              <a:tr h="850901"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900546"/>
                  </a:ext>
                </a:extLst>
              </a:tr>
              <a:tr h="850901"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769343"/>
                  </a:ext>
                </a:extLst>
              </a:tr>
              <a:tr h="850901"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7028896"/>
                  </a:ext>
                </a:extLst>
              </a:tr>
            </a:tbl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3841B630-D016-4DBD-9B96-3C3293D188CA}"/>
              </a:ext>
            </a:extLst>
          </p:cNvPr>
          <p:cNvGrpSpPr/>
          <p:nvPr/>
        </p:nvGrpSpPr>
        <p:grpSpPr>
          <a:xfrm>
            <a:off x="5468319" y="1405252"/>
            <a:ext cx="5795011" cy="4797039"/>
            <a:chOff x="2572978" y="1210815"/>
            <a:chExt cx="3591950" cy="2973367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1FA56CE-32D3-4053-89E0-641ADBC7D01F}"/>
                </a:ext>
              </a:extLst>
            </p:cNvPr>
            <p:cNvGrpSpPr/>
            <p:nvPr/>
          </p:nvGrpSpPr>
          <p:grpSpPr>
            <a:xfrm>
              <a:off x="2572978" y="1210815"/>
              <a:ext cx="3591950" cy="2973367"/>
              <a:chOff x="3041969" y="3577395"/>
              <a:chExt cx="2320904" cy="2356860"/>
            </a:xfrm>
          </p:grpSpPr>
          <p:cxnSp>
            <p:nvCxnSpPr>
              <p:cNvPr id="19" name="Straight Arrow Connector 18">
                <a:extLst>
                  <a:ext uri="{FF2B5EF4-FFF2-40B4-BE49-F238E27FC236}">
                    <a16:creationId xmlns:a16="http://schemas.microsoft.com/office/drawing/2014/main" id="{5387EC4B-EDB4-4CA7-8F83-9BF90D2D4A81}"/>
                  </a:ext>
                </a:extLst>
              </p:cNvPr>
              <p:cNvCxnSpPr/>
              <p:nvPr/>
            </p:nvCxnSpPr>
            <p:spPr>
              <a:xfrm rot="16200000">
                <a:off x="2229549" y="4662674"/>
                <a:ext cx="180000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1AA3B3A8-8204-4426-904B-78C9754B36AC}"/>
                  </a:ext>
                </a:extLst>
              </p:cNvPr>
              <p:cNvSpPr txBox="1"/>
              <p:nvPr/>
            </p:nvSpPr>
            <p:spPr>
              <a:xfrm>
                <a:off x="3041969" y="3577395"/>
                <a:ext cx="174754" cy="1260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b-NO" sz="1067">
                    <a:solidFill>
                      <a:srgbClr val="000000"/>
                    </a:solidFill>
                  </a:rPr>
                  <a:t>Høy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23D8E2B0-40CC-4461-9B67-EC763F5B3116}"/>
                  </a:ext>
                </a:extLst>
              </p:cNvPr>
              <p:cNvSpPr txBox="1"/>
              <p:nvPr/>
            </p:nvSpPr>
            <p:spPr>
              <a:xfrm>
                <a:off x="3048592" y="5592426"/>
                <a:ext cx="161914" cy="1260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b-NO" sz="1067">
                    <a:solidFill>
                      <a:srgbClr val="000000"/>
                    </a:solidFill>
                  </a:rPr>
                  <a:t>Lav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866B3EFA-968C-40C4-8663-1A78A1932325}"/>
                  </a:ext>
                </a:extLst>
              </p:cNvPr>
              <p:cNvSpPr txBox="1"/>
              <p:nvPr/>
            </p:nvSpPr>
            <p:spPr>
              <a:xfrm rot="16200000">
                <a:off x="2731165" y="4603113"/>
                <a:ext cx="796769" cy="11913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 anchor="ctr"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b-NO" sz="1333" b="1">
                    <a:solidFill>
                      <a:srgbClr val="000000"/>
                    </a:solidFill>
                  </a:rPr>
                  <a:t>Sannsynlighet</a:t>
                </a:r>
              </a:p>
            </p:txBody>
          </p:sp>
          <p:cxnSp>
            <p:nvCxnSpPr>
              <p:cNvPr id="23" name="Straight Arrow Connector 22">
                <a:extLst>
                  <a:ext uri="{FF2B5EF4-FFF2-40B4-BE49-F238E27FC236}">
                    <a16:creationId xmlns:a16="http://schemas.microsoft.com/office/drawing/2014/main" id="{750BC8C6-123C-4C69-9B50-648FDC3FF78D}"/>
                  </a:ext>
                </a:extLst>
              </p:cNvPr>
              <p:cNvCxnSpPr/>
              <p:nvPr/>
            </p:nvCxnSpPr>
            <p:spPr>
              <a:xfrm>
                <a:off x="3375691" y="5879819"/>
                <a:ext cx="198000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0701E970-C8AF-4FF5-A05B-DC28D29BECC9}"/>
                  </a:ext>
                </a:extLst>
              </p:cNvPr>
              <p:cNvSpPr txBox="1"/>
              <p:nvPr/>
            </p:nvSpPr>
            <p:spPr>
              <a:xfrm>
                <a:off x="3945323" y="5788111"/>
                <a:ext cx="840734" cy="14614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b-NO" sz="1333" b="1">
                    <a:solidFill>
                      <a:srgbClr val="000000"/>
                    </a:solidFill>
                  </a:rPr>
                  <a:t>Konsekvens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20BB2CD0-4033-4495-A524-B33B31768469}"/>
                  </a:ext>
                </a:extLst>
              </p:cNvPr>
              <p:cNvSpPr txBox="1"/>
              <p:nvPr/>
            </p:nvSpPr>
            <p:spPr>
              <a:xfrm>
                <a:off x="5188119" y="5710865"/>
                <a:ext cx="174754" cy="12604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b-NO" sz="1067">
                    <a:solidFill>
                      <a:srgbClr val="000000"/>
                    </a:solidFill>
                  </a:rPr>
                  <a:t>Høy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17665EA9-72F6-46C6-B517-4F51AE2BD38F}"/>
                  </a:ext>
                </a:extLst>
              </p:cNvPr>
              <p:cNvSpPr txBox="1"/>
              <p:nvPr/>
            </p:nvSpPr>
            <p:spPr>
              <a:xfrm>
                <a:off x="3270897" y="5710865"/>
                <a:ext cx="161914" cy="12604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b-NO" sz="1067">
                    <a:solidFill>
                      <a:srgbClr val="000000"/>
                    </a:solidFill>
                  </a:rPr>
                  <a:t>Lav</a:t>
                </a:r>
              </a:p>
            </p:txBody>
          </p: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D6F858E-1C06-4A1C-9764-F5F18369C327}"/>
                </a:ext>
              </a:extLst>
            </p:cNvPr>
            <p:cNvSpPr/>
            <p:nvPr/>
          </p:nvSpPr>
          <p:spPr>
            <a:xfrm>
              <a:off x="3728567" y="1807774"/>
              <a:ext cx="114503" cy="1590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nb-NO" sz="1067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2612DDB-FCEC-4AEF-9808-70E7C3627BB0}"/>
                </a:ext>
              </a:extLst>
            </p:cNvPr>
            <p:cNvSpPr/>
            <p:nvPr/>
          </p:nvSpPr>
          <p:spPr>
            <a:xfrm>
              <a:off x="4156598" y="1526747"/>
              <a:ext cx="114503" cy="1590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nb-NO" sz="1067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CAC66B8-FE33-4698-84BB-53CDD010A3D3}"/>
                </a:ext>
              </a:extLst>
            </p:cNvPr>
            <p:cNvSpPr/>
            <p:nvPr/>
          </p:nvSpPr>
          <p:spPr>
            <a:xfrm>
              <a:off x="5444208" y="1944676"/>
              <a:ext cx="114503" cy="1590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nb-NO" sz="1067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1B453D43-4EE7-4F17-B343-FFDCB9ACE673}"/>
                </a:ext>
              </a:extLst>
            </p:cNvPr>
            <p:cNvSpPr/>
            <p:nvPr/>
          </p:nvSpPr>
          <p:spPr>
            <a:xfrm>
              <a:off x="5781462" y="1591116"/>
              <a:ext cx="114503" cy="1590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nb-NO" sz="1067"/>
            </a:p>
          </p:txBody>
        </p:sp>
      </p:grpSp>
      <p:sp>
        <p:nvSpPr>
          <p:cNvPr id="27" name="Oval 26">
            <a:extLst>
              <a:ext uri="{FF2B5EF4-FFF2-40B4-BE49-F238E27FC236}">
                <a16:creationId xmlns:a16="http://schemas.microsoft.com/office/drawing/2014/main" id="{46828C11-3FF9-4073-8F9D-04FDE0C5CA82}"/>
              </a:ext>
            </a:extLst>
          </p:cNvPr>
          <p:cNvSpPr/>
          <p:nvPr/>
        </p:nvSpPr>
        <p:spPr>
          <a:xfrm>
            <a:off x="10720138" y="5080028"/>
            <a:ext cx="290400" cy="290400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0583ADD0-FCD6-4731-AE1F-9C472E58D072}"/>
              </a:ext>
            </a:extLst>
          </p:cNvPr>
          <p:cNvSpPr/>
          <p:nvPr/>
        </p:nvSpPr>
        <p:spPr>
          <a:xfrm>
            <a:off x="9677892" y="3625600"/>
            <a:ext cx="290400" cy="290400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436A9527-B481-4724-BA23-E8BEDA31B560}"/>
              </a:ext>
            </a:extLst>
          </p:cNvPr>
          <p:cNvSpPr/>
          <p:nvPr/>
        </p:nvSpPr>
        <p:spPr>
          <a:xfrm>
            <a:off x="7723883" y="2717488"/>
            <a:ext cx="290400" cy="290400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4A5A050F-A100-4AE3-B458-A8EB5C0A698F}"/>
              </a:ext>
            </a:extLst>
          </p:cNvPr>
          <p:cNvSpPr/>
          <p:nvPr/>
        </p:nvSpPr>
        <p:spPr>
          <a:xfrm>
            <a:off x="6296560" y="2147077"/>
            <a:ext cx="290400" cy="290400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6D9FF0DF-378D-4E82-977E-DC13E066C3DD}"/>
              </a:ext>
            </a:extLst>
          </p:cNvPr>
          <p:cNvSpPr/>
          <p:nvPr/>
        </p:nvSpPr>
        <p:spPr>
          <a:xfrm>
            <a:off x="9677892" y="1816634"/>
            <a:ext cx="290400" cy="290400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8D161C73-8CA0-4DD4-BDDF-CD62B086AC00}"/>
              </a:ext>
            </a:extLst>
          </p:cNvPr>
          <p:cNvSpPr/>
          <p:nvPr/>
        </p:nvSpPr>
        <p:spPr>
          <a:xfrm>
            <a:off x="10504094" y="3441599"/>
            <a:ext cx="290400" cy="290400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C2C23293-E3BF-422C-BD5E-46C9699E5D11}"/>
              </a:ext>
            </a:extLst>
          </p:cNvPr>
          <p:cNvSpPr/>
          <p:nvPr/>
        </p:nvSpPr>
        <p:spPr>
          <a:xfrm>
            <a:off x="469529" y="2786541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60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71027519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DFB6676-D16B-4D04-8C3A-E846893372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DFB6676-D16B-4D04-8C3A-E846893372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971F816-F5AE-4E5D-95B6-842C9CE7B4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55" name="Table 154">
            <a:extLst>
              <a:ext uri="{FF2B5EF4-FFF2-40B4-BE49-F238E27FC236}">
                <a16:creationId xmlns:a16="http://schemas.microsoft.com/office/drawing/2014/main" id="{74BB709A-4FAF-4BC4-BA36-E98E189871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1507911"/>
              </p:ext>
            </p:extLst>
          </p:nvPr>
        </p:nvGraphicFramePr>
        <p:xfrm>
          <a:off x="898288" y="1091853"/>
          <a:ext cx="10803549" cy="33446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321287">
                  <a:extLst>
                    <a:ext uri="{9D8B030D-6E8A-4147-A177-3AD203B41FA5}">
                      <a16:colId xmlns:a16="http://schemas.microsoft.com/office/drawing/2014/main" val="3499541297"/>
                    </a:ext>
                  </a:extLst>
                </a:gridCol>
                <a:gridCol w="7482262">
                  <a:extLst>
                    <a:ext uri="{9D8B030D-6E8A-4147-A177-3AD203B41FA5}">
                      <a16:colId xmlns:a16="http://schemas.microsoft.com/office/drawing/2014/main" val="1185222326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Suksessfaktorer</a:t>
                      </a:r>
                      <a:endParaRPr lang="en-US" sz="1800" b="0" i="0" u="none" strike="noStrike" err="1">
                        <a:solidFill>
                          <a:srgbClr val="000000"/>
                        </a:solidFill>
                        <a:effectLst/>
                        <a:latin typeface="Arial (body)"/>
                      </a:endParaRPr>
                    </a:p>
                  </a:txBody>
                  <a:tcPr marL="48000" marR="48000" marT="48000" marB="48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Mitigerende</a:t>
                      </a:r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8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tiltak</a:t>
                      </a:r>
                      <a:endParaRPr lang="en-US" sz="1800" b="0" i="0" u="none" strike="noStrike">
                        <a:solidFill>
                          <a:srgbClr val="000000"/>
                        </a:solidFill>
                        <a:effectLst/>
                        <a:latin typeface="Arial (body)"/>
                      </a:endParaRPr>
                    </a:p>
                  </a:txBody>
                  <a:tcPr marL="48000" marR="48000" marT="48000" marB="48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73177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God bruker/-lederstøtte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err="1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Utdypes</a:t>
                      </a:r>
                      <a:r>
                        <a:rPr lang="en-US" sz="1200" b="0" i="0" u="none" strike="noStrike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 </a:t>
                      </a:r>
                      <a:r>
                        <a:rPr lang="en-US" sz="1200" b="0" i="0" u="none" strike="noStrike" err="1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nedenfor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823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Tydelig og tilgjengelig kontaktpunkt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Gjøre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informasjon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lett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tilgjengelig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.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Dedikerte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kontaktpersoner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.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Tilgjengelig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på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flere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flater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. God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selvhjelp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. </a:t>
                      </a:r>
                    </a:p>
                    <a:p>
                      <a:pPr algn="l" fontAlgn="b"/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Ekstra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bemanning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I en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oppstartsfas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 (body)"/>
                      </a:endParaRP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592522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Tydeliggjøre prosessansvar/eierskap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Definere tydelig prosesseierskap, og utvikle gode arenaer for samarbeid på tvers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249760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Riktige tilganger i hele organisasjonen</a:t>
                      </a:r>
                      <a:endParaRPr lang="en-US" sz="1200" b="0" i="0" u="none" strike="noStrike" err="1">
                        <a:solidFill>
                          <a:srgbClr val="000000"/>
                        </a:solidFill>
                        <a:effectLst/>
                        <a:latin typeface="Arial (body)"/>
                      </a:endParaRP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Kartlegge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behovshavere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og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delegere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deretter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.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Sikre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lesetilgang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for alle med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behov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.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Sikre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en god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prosess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for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tilgangsstyrin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 (body)"/>
                      </a:endParaRPr>
                    </a:p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 (body)"/>
                      </a:endParaRP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22952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Beslutte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hensiktsmessig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organisering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Arial (body)"/>
                      </a:endParaRP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Lære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av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tidligere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erfaringer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med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sentralisering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på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NTNU, UIB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og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UIO.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Prioritere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tid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til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 </a:t>
                      </a:r>
                      <a:r>
                        <a:rPr lang="en-US" sz="1200" b="0" i="0" u="none" strike="noStrike" err="1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prosessen</a:t>
                      </a:r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. 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8655016"/>
                  </a:ext>
                </a:extLst>
              </a:tr>
            </a:tbl>
          </a:graphicData>
        </a:graphic>
      </p:graphicFrame>
      <p:sp>
        <p:nvSpPr>
          <p:cNvPr id="256" name="Title 17">
            <a:extLst>
              <a:ext uri="{FF2B5EF4-FFF2-40B4-BE49-F238E27FC236}">
                <a16:creationId xmlns:a16="http://schemas.microsoft.com/office/drawing/2014/main" id="{3F92EFE4-E06B-493C-BE91-5BB0EB0C3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584775"/>
          </a:xfrm>
        </p:spPr>
        <p:txBody>
          <a:bodyPr/>
          <a:lstStyle/>
          <a:p>
            <a:r>
              <a:rPr lang="en-US" sz="3200" err="1"/>
              <a:t>Suksessfaktorer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7C1B26B-A2D3-4310-B4A3-83CBA13F0A64}"/>
              </a:ext>
            </a:extLst>
          </p:cNvPr>
          <p:cNvSpPr/>
          <p:nvPr/>
        </p:nvSpPr>
        <p:spPr>
          <a:xfrm>
            <a:off x="469529" y="1712961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17E90B7-89EA-43B5-936A-0F4498E92B58}"/>
              </a:ext>
            </a:extLst>
          </p:cNvPr>
          <p:cNvSpPr/>
          <p:nvPr/>
        </p:nvSpPr>
        <p:spPr>
          <a:xfrm>
            <a:off x="469529" y="2249752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51246A8-4324-49BF-9936-74D449F0F578}"/>
              </a:ext>
            </a:extLst>
          </p:cNvPr>
          <p:cNvSpPr/>
          <p:nvPr/>
        </p:nvSpPr>
        <p:spPr>
          <a:xfrm>
            <a:off x="469529" y="2786543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A5AD9E7-59CC-465F-A54B-AD5DEB85DE3A}"/>
              </a:ext>
            </a:extLst>
          </p:cNvPr>
          <p:cNvSpPr/>
          <p:nvPr/>
        </p:nvSpPr>
        <p:spPr>
          <a:xfrm>
            <a:off x="469529" y="3323334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0837C05-05DA-425E-883F-171C605CEEA1}"/>
              </a:ext>
            </a:extLst>
          </p:cNvPr>
          <p:cNvSpPr/>
          <p:nvPr/>
        </p:nvSpPr>
        <p:spPr>
          <a:xfrm>
            <a:off x="469529" y="3860125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en-US" sz="140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9824810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DFB6676-D16B-4D04-8C3A-E846893372D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4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DFB6676-D16B-4D04-8C3A-E846893372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971F816-F5AE-4E5D-95B6-842C9CE7B4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2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155" name="Table 154">
            <a:extLst>
              <a:ext uri="{FF2B5EF4-FFF2-40B4-BE49-F238E27FC236}">
                <a16:creationId xmlns:a16="http://schemas.microsoft.com/office/drawing/2014/main" id="{74BB709A-4FAF-4BC4-BA36-E98E189871F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3409938"/>
              </p:ext>
            </p:extLst>
          </p:nvPr>
        </p:nvGraphicFramePr>
        <p:xfrm>
          <a:off x="965074" y="1897359"/>
          <a:ext cx="3321287" cy="324000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321287">
                  <a:extLst>
                    <a:ext uri="{9D8B030D-6E8A-4147-A177-3AD203B41FA5}">
                      <a16:colId xmlns:a16="http://schemas.microsoft.com/office/drawing/2014/main" val="3499541297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8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Suksessfaktorer</a:t>
                      </a:r>
                      <a:endParaRPr lang="nb-NO" sz="1800" b="0" i="0" u="none" strike="noStrike" err="1">
                        <a:solidFill>
                          <a:srgbClr val="000000"/>
                        </a:solidFill>
                        <a:effectLst/>
                        <a:latin typeface="Arial (body)"/>
                      </a:endParaRPr>
                    </a:p>
                  </a:txBody>
                  <a:tcPr marL="48000" marR="48000" marT="48000" marB="4800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773177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Opplevd god bruker/-lederstøtte og toveisdialog (etter man er kommet i kontakt)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823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Tydelig og tilgjengelig kontaktpunkt (Komme i kontakt med senteret)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5925228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Tydeliggjøre prosessansvar/eierskap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32497601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Riktige tilganger i hele organisasjonen</a:t>
                      </a:r>
                      <a:endParaRPr lang="en-US" sz="1200" b="0" i="0" u="none" strike="noStrike" err="1">
                        <a:solidFill>
                          <a:srgbClr val="000000"/>
                        </a:solidFill>
                        <a:effectLst/>
                        <a:latin typeface="Arial (body)"/>
                      </a:endParaRP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22952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Beslutte hensiktsmessig organisering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8655016"/>
                  </a:ext>
                </a:extLst>
              </a:tr>
            </a:tbl>
          </a:graphicData>
        </a:graphic>
      </p:graphicFrame>
      <p:sp>
        <p:nvSpPr>
          <p:cNvPr id="256" name="Title 17">
            <a:extLst>
              <a:ext uri="{FF2B5EF4-FFF2-40B4-BE49-F238E27FC236}">
                <a16:creationId xmlns:a16="http://schemas.microsoft.com/office/drawing/2014/main" id="{3F92EFE4-E06B-493C-BE91-5BB0EB0C33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584775"/>
          </a:xfrm>
        </p:spPr>
        <p:txBody>
          <a:bodyPr/>
          <a:lstStyle/>
          <a:p>
            <a:r>
              <a:rPr lang="nb-NO" sz="3200"/>
              <a:t>Suksessfaktorer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7C1B26B-A2D3-4310-B4A3-83CBA13F0A64}"/>
              </a:ext>
            </a:extLst>
          </p:cNvPr>
          <p:cNvSpPr/>
          <p:nvPr/>
        </p:nvSpPr>
        <p:spPr>
          <a:xfrm>
            <a:off x="536315" y="2518467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17E90B7-89EA-43B5-936A-0F4498E92B58}"/>
              </a:ext>
            </a:extLst>
          </p:cNvPr>
          <p:cNvSpPr/>
          <p:nvPr/>
        </p:nvSpPr>
        <p:spPr>
          <a:xfrm>
            <a:off x="536315" y="3055258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51246A8-4324-49BF-9936-74D449F0F578}"/>
              </a:ext>
            </a:extLst>
          </p:cNvPr>
          <p:cNvSpPr/>
          <p:nvPr/>
        </p:nvSpPr>
        <p:spPr>
          <a:xfrm>
            <a:off x="536315" y="3592049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A5AD9E7-59CC-465F-A54B-AD5DEB85DE3A}"/>
              </a:ext>
            </a:extLst>
          </p:cNvPr>
          <p:cNvSpPr/>
          <p:nvPr/>
        </p:nvSpPr>
        <p:spPr>
          <a:xfrm>
            <a:off x="536315" y="4128840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0837C05-05DA-425E-883F-171C605CEEA1}"/>
              </a:ext>
            </a:extLst>
          </p:cNvPr>
          <p:cNvSpPr/>
          <p:nvPr/>
        </p:nvSpPr>
        <p:spPr>
          <a:xfrm>
            <a:off x="536315" y="4665631"/>
            <a:ext cx="351383" cy="351383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5</a:t>
            </a:r>
          </a:p>
        </p:txBody>
      </p:sp>
      <p:graphicFrame>
        <p:nvGraphicFramePr>
          <p:cNvPr id="18" name="Table 13">
            <a:extLst>
              <a:ext uri="{FF2B5EF4-FFF2-40B4-BE49-F238E27FC236}">
                <a16:creationId xmlns:a16="http://schemas.microsoft.com/office/drawing/2014/main" id="{FF780940-7B38-4D72-995F-6BC15BE1074F}"/>
              </a:ext>
            </a:extLst>
          </p:cNvPr>
          <p:cNvGraphicFramePr>
            <a:graphicFrameLocks noGrp="1"/>
          </p:cNvGraphicFramePr>
          <p:nvPr/>
        </p:nvGraphicFramePr>
        <p:xfrm>
          <a:off x="5954539" y="1403651"/>
          <a:ext cx="5443560" cy="42545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8712">
                  <a:extLst>
                    <a:ext uri="{9D8B030D-6E8A-4147-A177-3AD203B41FA5}">
                      <a16:colId xmlns:a16="http://schemas.microsoft.com/office/drawing/2014/main" val="1754513691"/>
                    </a:ext>
                  </a:extLst>
                </a:gridCol>
                <a:gridCol w="1088712">
                  <a:extLst>
                    <a:ext uri="{9D8B030D-6E8A-4147-A177-3AD203B41FA5}">
                      <a16:colId xmlns:a16="http://schemas.microsoft.com/office/drawing/2014/main" val="1507093571"/>
                    </a:ext>
                  </a:extLst>
                </a:gridCol>
                <a:gridCol w="1088712">
                  <a:extLst>
                    <a:ext uri="{9D8B030D-6E8A-4147-A177-3AD203B41FA5}">
                      <a16:colId xmlns:a16="http://schemas.microsoft.com/office/drawing/2014/main" val="2391704220"/>
                    </a:ext>
                  </a:extLst>
                </a:gridCol>
                <a:gridCol w="1088712">
                  <a:extLst>
                    <a:ext uri="{9D8B030D-6E8A-4147-A177-3AD203B41FA5}">
                      <a16:colId xmlns:a16="http://schemas.microsoft.com/office/drawing/2014/main" val="3072935324"/>
                    </a:ext>
                  </a:extLst>
                </a:gridCol>
                <a:gridCol w="1088712">
                  <a:extLst>
                    <a:ext uri="{9D8B030D-6E8A-4147-A177-3AD203B41FA5}">
                      <a16:colId xmlns:a16="http://schemas.microsoft.com/office/drawing/2014/main" val="1165241751"/>
                    </a:ext>
                  </a:extLst>
                </a:gridCol>
              </a:tblGrid>
              <a:tr h="850901"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733754"/>
                  </a:ext>
                </a:extLst>
              </a:tr>
              <a:tr h="850901"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6436718"/>
                  </a:ext>
                </a:extLst>
              </a:tr>
              <a:tr h="850901"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0900546"/>
                  </a:ext>
                </a:extLst>
              </a:tr>
              <a:tr h="850901"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769343"/>
                  </a:ext>
                </a:extLst>
              </a:tr>
              <a:tr h="850901"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2500"/>
                    </a:p>
                  </a:txBody>
                  <a:tcPr marL="162275" marR="162275" marT="81137" marB="81137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7028896"/>
                  </a:ext>
                </a:extLst>
              </a:tr>
            </a:tbl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AC4F1349-D28E-468F-BFA0-CFC2998AA26A}"/>
              </a:ext>
            </a:extLst>
          </p:cNvPr>
          <p:cNvGrpSpPr/>
          <p:nvPr/>
        </p:nvGrpSpPr>
        <p:grpSpPr>
          <a:xfrm>
            <a:off x="5468319" y="1405252"/>
            <a:ext cx="5795011" cy="4797039"/>
            <a:chOff x="2572978" y="1210815"/>
            <a:chExt cx="3591950" cy="2973367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7AB3BC89-AC3E-4363-90DF-F35622D9F44D}"/>
                </a:ext>
              </a:extLst>
            </p:cNvPr>
            <p:cNvGrpSpPr/>
            <p:nvPr/>
          </p:nvGrpSpPr>
          <p:grpSpPr>
            <a:xfrm>
              <a:off x="2572978" y="1210815"/>
              <a:ext cx="3591950" cy="2973367"/>
              <a:chOff x="3041969" y="3577395"/>
              <a:chExt cx="2320904" cy="2356860"/>
            </a:xfrm>
          </p:grpSpPr>
          <p:cxnSp>
            <p:nvCxnSpPr>
              <p:cNvPr id="25" name="Straight Arrow Connector 24">
                <a:extLst>
                  <a:ext uri="{FF2B5EF4-FFF2-40B4-BE49-F238E27FC236}">
                    <a16:creationId xmlns:a16="http://schemas.microsoft.com/office/drawing/2014/main" id="{695A1F9B-1484-4D50-AA4C-F05E1A56BE42}"/>
                  </a:ext>
                </a:extLst>
              </p:cNvPr>
              <p:cNvCxnSpPr/>
              <p:nvPr/>
            </p:nvCxnSpPr>
            <p:spPr>
              <a:xfrm rot="16200000">
                <a:off x="2229549" y="4662674"/>
                <a:ext cx="180000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3E71AA65-9856-4B65-BD1D-9739856D43E1}"/>
                  </a:ext>
                </a:extLst>
              </p:cNvPr>
              <p:cNvSpPr txBox="1"/>
              <p:nvPr/>
            </p:nvSpPr>
            <p:spPr>
              <a:xfrm>
                <a:off x="3041969" y="3577395"/>
                <a:ext cx="174754" cy="1260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b-NO" sz="1067">
                    <a:solidFill>
                      <a:srgbClr val="000000"/>
                    </a:solidFill>
                  </a:rPr>
                  <a:t>Høy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4427D88D-2527-4698-9380-DDA8429D4229}"/>
                  </a:ext>
                </a:extLst>
              </p:cNvPr>
              <p:cNvSpPr txBox="1"/>
              <p:nvPr/>
            </p:nvSpPr>
            <p:spPr>
              <a:xfrm>
                <a:off x="3048592" y="5592426"/>
                <a:ext cx="161914" cy="1260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b-NO" sz="1067">
                    <a:solidFill>
                      <a:srgbClr val="000000"/>
                    </a:solidFill>
                  </a:rPr>
                  <a:t>Lav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3362D2E-3DCF-430A-995C-A54D785FDEC5}"/>
                  </a:ext>
                </a:extLst>
              </p:cNvPr>
              <p:cNvSpPr txBox="1"/>
              <p:nvPr/>
            </p:nvSpPr>
            <p:spPr>
              <a:xfrm rot="16200000">
                <a:off x="2731165" y="4603113"/>
                <a:ext cx="796769" cy="11913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 anchor="ctr"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b-NO" sz="1333" b="1">
                    <a:solidFill>
                      <a:srgbClr val="000000"/>
                    </a:solidFill>
                  </a:rPr>
                  <a:t>Ressursinnsats</a:t>
                </a:r>
              </a:p>
            </p:txBody>
          </p:sp>
          <p:cxnSp>
            <p:nvCxnSpPr>
              <p:cNvPr id="29" name="Straight Arrow Connector 28">
                <a:extLst>
                  <a:ext uri="{FF2B5EF4-FFF2-40B4-BE49-F238E27FC236}">
                    <a16:creationId xmlns:a16="http://schemas.microsoft.com/office/drawing/2014/main" id="{B435BAF9-6D8F-4C14-BCFC-F9A4B2340127}"/>
                  </a:ext>
                </a:extLst>
              </p:cNvPr>
              <p:cNvCxnSpPr/>
              <p:nvPr/>
            </p:nvCxnSpPr>
            <p:spPr>
              <a:xfrm>
                <a:off x="3375691" y="5879819"/>
                <a:ext cx="1980000" cy="0"/>
              </a:xfrm>
              <a:prstGeom prst="straightConnector1">
                <a:avLst/>
              </a:prstGeom>
              <a:ln>
                <a:solidFill>
                  <a:schemeClr val="tx1"/>
                </a:solidFill>
                <a:headEnd type="triangle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144B9157-6AA4-4FBB-B212-3472D11679AB}"/>
                  </a:ext>
                </a:extLst>
              </p:cNvPr>
              <p:cNvSpPr txBox="1"/>
              <p:nvPr/>
            </p:nvSpPr>
            <p:spPr>
              <a:xfrm>
                <a:off x="4149974" y="5788111"/>
                <a:ext cx="431430" cy="14614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b-NO" sz="1333" b="1">
                    <a:solidFill>
                      <a:srgbClr val="000000"/>
                    </a:solidFill>
                  </a:rPr>
                  <a:t>Nytte</a:t>
                </a: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D7989BE2-5A1C-47C7-A6D6-265C51505169}"/>
                  </a:ext>
                </a:extLst>
              </p:cNvPr>
              <p:cNvSpPr txBox="1"/>
              <p:nvPr/>
            </p:nvSpPr>
            <p:spPr>
              <a:xfrm>
                <a:off x="5188119" y="5710865"/>
                <a:ext cx="174754" cy="12604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b-NO" sz="1067">
                    <a:solidFill>
                      <a:srgbClr val="000000"/>
                    </a:solidFill>
                  </a:rPr>
                  <a:t>Høy</a:t>
                </a: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id="{FD7915B3-BD3C-44E1-A3B6-EACFBDCC54F2}"/>
                  </a:ext>
                </a:extLst>
              </p:cNvPr>
              <p:cNvSpPr txBox="1"/>
              <p:nvPr/>
            </p:nvSpPr>
            <p:spPr>
              <a:xfrm>
                <a:off x="3270897" y="5710865"/>
                <a:ext cx="161914" cy="12604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nb-NO" sz="1067">
                    <a:solidFill>
                      <a:srgbClr val="000000"/>
                    </a:solidFill>
                  </a:rPr>
                  <a:t>Lav</a:t>
                </a:r>
              </a:p>
            </p:txBody>
          </p:sp>
        </p:grp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72E073E7-C3B9-447C-BE13-C891F61B9A88}"/>
                </a:ext>
              </a:extLst>
            </p:cNvPr>
            <p:cNvSpPr/>
            <p:nvPr/>
          </p:nvSpPr>
          <p:spPr>
            <a:xfrm>
              <a:off x="3728567" y="1807774"/>
              <a:ext cx="114503" cy="1590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nb-NO" sz="1067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F05D52F-1F82-49C9-99AF-35668EE49934}"/>
                </a:ext>
              </a:extLst>
            </p:cNvPr>
            <p:cNvSpPr/>
            <p:nvPr/>
          </p:nvSpPr>
          <p:spPr>
            <a:xfrm>
              <a:off x="4156598" y="1526747"/>
              <a:ext cx="114503" cy="1590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nb-NO" sz="1067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767533C-1169-4805-92F1-48A6A25AB00D}"/>
                </a:ext>
              </a:extLst>
            </p:cNvPr>
            <p:cNvSpPr/>
            <p:nvPr/>
          </p:nvSpPr>
          <p:spPr>
            <a:xfrm>
              <a:off x="5444208" y="1944676"/>
              <a:ext cx="114503" cy="1590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nb-NO" sz="1067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BA36521A-80F2-4EC3-8937-58C7F587C63B}"/>
                </a:ext>
              </a:extLst>
            </p:cNvPr>
            <p:cNvSpPr/>
            <p:nvPr/>
          </p:nvSpPr>
          <p:spPr>
            <a:xfrm>
              <a:off x="5781462" y="1591116"/>
              <a:ext cx="114503" cy="15901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endParaRPr lang="nb-NO" sz="1067"/>
            </a:p>
          </p:txBody>
        </p:sp>
      </p:grpSp>
      <p:sp>
        <p:nvSpPr>
          <p:cNvPr id="33" name="Oval 32">
            <a:extLst>
              <a:ext uri="{FF2B5EF4-FFF2-40B4-BE49-F238E27FC236}">
                <a16:creationId xmlns:a16="http://schemas.microsoft.com/office/drawing/2014/main" id="{2A40BB3E-BC45-4585-B038-DAE1512C3B56}"/>
              </a:ext>
            </a:extLst>
          </p:cNvPr>
          <p:cNvSpPr/>
          <p:nvPr/>
        </p:nvSpPr>
        <p:spPr>
          <a:xfrm>
            <a:off x="10873333" y="1606959"/>
            <a:ext cx="290400" cy="290400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2FBA878E-876C-4264-87CB-CCDECE988AEA}"/>
              </a:ext>
            </a:extLst>
          </p:cNvPr>
          <p:cNvSpPr/>
          <p:nvPr/>
        </p:nvSpPr>
        <p:spPr>
          <a:xfrm>
            <a:off x="10681790" y="3404764"/>
            <a:ext cx="290400" cy="290400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7A5DC791-B92A-4B8C-A234-A9CE3B237E2E}"/>
              </a:ext>
            </a:extLst>
          </p:cNvPr>
          <p:cNvSpPr/>
          <p:nvPr/>
        </p:nvSpPr>
        <p:spPr>
          <a:xfrm>
            <a:off x="10661498" y="4225524"/>
            <a:ext cx="290400" cy="290400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82BA3A57-7C9A-4FBF-8064-54E87B7E382D}"/>
              </a:ext>
            </a:extLst>
          </p:cNvPr>
          <p:cNvSpPr/>
          <p:nvPr/>
        </p:nvSpPr>
        <p:spPr>
          <a:xfrm>
            <a:off x="10446637" y="1585466"/>
            <a:ext cx="290400" cy="290400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65767F78-B53D-4BA3-8084-070576B76449}"/>
              </a:ext>
            </a:extLst>
          </p:cNvPr>
          <p:cNvSpPr/>
          <p:nvPr/>
        </p:nvSpPr>
        <p:spPr>
          <a:xfrm>
            <a:off x="10640423" y="1914956"/>
            <a:ext cx="290400" cy="290400"/>
          </a:xfrm>
          <a:prstGeom prst="ellipse">
            <a:avLst/>
          </a:prstGeom>
          <a:solidFill>
            <a:schemeClr val="tx2"/>
          </a:solidFill>
          <a:ln w="635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6430939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D62DCEF-3D8C-4E29-8B65-84F7EBF13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614554"/>
            <a:ext cx="11188700" cy="334099"/>
          </a:xfrm>
        </p:spPr>
        <p:txBody>
          <a:bodyPr/>
          <a:lstStyle/>
          <a:p>
            <a:r>
              <a:rPr lang="nb-NO" sz="2800"/>
              <a:t>Hvordan skal en slik fellestjeneste få til god bruker/-lederstøtte?</a:t>
            </a:r>
            <a:endParaRPr lang="en-US" sz="280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3FFE1B2-02A7-4CD7-8F86-48AB8C8B044A}"/>
              </a:ext>
            </a:extLst>
          </p:cNvPr>
          <p:cNvGrpSpPr/>
          <p:nvPr/>
        </p:nvGrpSpPr>
        <p:grpSpPr>
          <a:xfrm>
            <a:off x="578999" y="1764000"/>
            <a:ext cx="10468563" cy="4442401"/>
            <a:chOff x="579000" y="1764000"/>
            <a:chExt cx="8748600" cy="3712523"/>
          </a:xfrm>
        </p:grpSpPr>
        <p:grpSp>
          <p:nvGrpSpPr>
            <p:cNvPr id="15" name="グループ化 34">
              <a:extLst>
                <a:ext uri="{FF2B5EF4-FFF2-40B4-BE49-F238E27FC236}">
                  <a16:creationId xmlns:a16="http://schemas.microsoft.com/office/drawing/2014/main" id="{566B2781-9813-4097-81CB-AF4E9E0FB761}"/>
                </a:ext>
              </a:extLst>
            </p:cNvPr>
            <p:cNvGrpSpPr/>
            <p:nvPr/>
          </p:nvGrpSpPr>
          <p:grpSpPr>
            <a:xfrm>
              <a:off x="579600" y="1764000"/>
              <a:ext cx="8748000" cy="1102005"/>
              <a:chOff x="579600" y="1764000"/>
              <a:chExt cx="8748000" cy="1102005"/>
            </a:xfrm>
          </p:grpSpPr>
          <p:sp>
            <p:nvSpPr>
              <p:cNvPr id="17" name="フリーフォーム 17">
                <a:extLst>
                  <a:ext uri="{FF2B5EF4-FFF2-40B4-BE49-F238E27FC236}">
                    <a16:creationId xmlns:a16="http://schemas.microsoft.com/office/drawing/2014/main" id="{E8687110-9F68-4F94-9FCA-5E4B7C5AC2E6}"/>
                  </a:ext>
                </a:extLst>
              </p:cNvPr>
              <p:cNvSpPr/>
              <p:nvPr/>
            </p:nvSpPr>
            <p:spPr bwMode="gray">
              <a:xfrm>
                <a:off x="579600" y="1764000"/>
                <a:ext cx="8748000" cy="1008000"/>
              </a:xfrm>
              <a:custGeom>
                <a:avLst/>
                <a:gdLst>
                  <a:gd name="connsiteX0" fmla="*/ 504000 w 8748000"/>
                  <a:gd name="connsiteY0" fmla="*/ 0 h 1008000"/>
                  <a:gd name="connsiteX1" fmla="*/ 519058 w 8748000"/>
                  <a:gd name="connsiteY1" fmla="*/ 1518 h 1008000"/>
                  <a:gd name="connsiteX2" fmla="*/ 519058 w 8748000"/>
                  <a:gd name="connsiteY2" fmla="*/ 0 h 1008000"/>
                  <a:gd name="connsiteX3" fmla="*/ 8251258 w 8748000"/>
                  <a:gd name="connsiteY3" fmla="*/ 0 h 1008000"/>
                  <a:gd name="connsiteX4" fmla="*/ 8745019 w 8748000"/>
                  <a:gd name="connsiteY4" fmla="*/ 402426 h 1008000"/>
                  <a:gd name="connsiteX5" fmla="*/ 8748000 w 8748000"/>
                  <a:gd name="connsiteY5" fmla="*/ 432000 h 1008000"/>
                  <a:gd name="connsiteX6" fmla="*/ 1000742 w 8748000"/>
                  <a:gd name="connsiteY6" fmla="*/ 432000 h 1008000"/>
                  <a:gd name="connsiteX7" fmla="*/ 1008000 w 8748000"/>
                  <a:gd name="connsiteY7" fmla="*/ 504000 h 1008000"/>
                  <a:gd name="connsiteX8" fmla="*/ 504000 w 8748000"/>
                  <a:gd name="connsiteY8" fmla="*/ 1008000 h 1008000"/>
                  <a:gd name="connsiteX9" fmla="*/ 0 w 8748000"/>
                  <a:gd name="connsiteY9" fmla="*/ 504000 h 1008000"/>
                  <a:gd name="connsiteX10" fmla="*/ 504000 w 8748000"/>
                  <a:gd name="connsiteY10" fmla="*/ 0 h 100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8748000" h="1008000">
                    <a:moveTo>
                      <a:pt x="504000" y="0"/>
                    </a:moveTo>
                    <a:lnTo>
                      <a:pt x="519058" y="1518"/>
                    </a:lnTo>
                    <a:lnTo>
                      <a:pt x="519058" y="0"/>
                    </a:lnTo>
                    <a:lnTo>
                      <a:pt x="8251258" y="0"/>
                    </a:lnTo>
                    <a:cubicBezTo>
                      <a:pt x="8494816" y="0"/>
                      <a:pt x="8698022" y="172762"/>
                      <a:pt x="8745019" y="402426"/>
                    </a:cubicBezTo>
                    <a:lnTo>
                      <a:pt x="8748000" y="432000"/>
                    </a:lnTo>
                    <a:lnTo>
                      <a:pt x="1000742" y="432000"/>
                    </a:lnTo>
                    <a:lnTo>
                      <a:pt x="1008000" y="504000"/>
                    </a:lnTo>
                    <a:cubicBezTo>
                      <a:pt x="1008000" y="782352"/>
                      <a:pt x="782352" y="1008000"/>
                      <a:pt x="504000" y="1008000"/>
                    </a:cubicBezTo>
                    <a:cubicBezTo>
                      <a:pt x="225648" y="1008000"/>
                      <a:pt x="0" y="782352"/>
                      <a:pt x="0" y="504000"/>
                    </a:cubicBezTo>
                    <a:cubicBezTo>
                      <a:pt x="0" y="225648"/>
                      <a:pt x="225648" y="0"/>
                      <a:pt x="504000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1008000" tIns="0" rIns="0" bIns="57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360000" lvl="0" indent="-360000" defTabSz="914400">
                  <a:defRPr/>
                </a:pPr>
                <a:r>
                  <a:rPr kumimoji="1" lang="en-US" altLang="ja-JP" sz="1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ea typeface="+mn-ea"/>
                    <a:cs typeface="+mn-cs"/>
                  </a:rPr>
                  <a:t>  1</a:t>
                </a:r>
                <a:r>
                  <a:rPr kumimoji="1" lang="en-US" altLang="ja-JP" b="1">
                    <a:solidFill>
                      <a:srgbClr val="FFFFFF"/>
                    </a:solidFill>
                  </a:rPr>
                  <a:t>  </a:t>
                </a:r>
                <a:r>
                  <a:rPr kumimoji="1" lang="en-US" altLang="ja-JP" b="1" err="1">
                    <a:solidFill>
                      <a:srgbClr val="FFFFFF"/>
                    </a:solidFill>
                  </a:rPr>
                  <a:t>Brukerorientering</a:t>
                </a:r>
                <a:endParaRPr kumimoji="1" lang="en-US" altLang="ja-JP" b="1">
                  <a:solidFill>
                    <a:srgbClr val="FFFFFF"/>
                  </a:solidFill>
                </a:endParaRPr>
              </a:p>
            </p:txBody>
          </p:sp>
          <p:sp>
            <p:nvSpPr>
              <p:cNvPr id="29" name="正方形/長方形 23">
                <a:extLst>
                  <a:ext uri="{FF2B5EF4-FFF2-40B4-BE49-F238E27FC236}">
                    <a16:creationId xmlns:a16="http://schemas.microsoft.com/office/drawing/2014/main" id="{07F5D8AC-4449-4BB8-BFF0-9C9F859C1170}"/>
                  </a:ext>
                </a:extLst>
              </p:cNvPr>
              <p:cNvSpPr/>
              <p:nvPr/>
            </p:nvSpPr>
            <p:spPr bwMode="gray">
              <a:xfrm>
                <a:off x="1624505" y="2290005"/>
                <a:ext cx="7560000" cy="576000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nb-NO" sz="1200"/>
                  <a:t>Fellestjenesten bør operere som en førstelinje tjeneste med direktekontakt til bruker/leder</a:t>
                </a: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nb-NO" sz="1200"/>
                  <a:t>Fellestjenesten bør bære preg av høy grad av serviceinnstilling og service nivå bør kommuniseres tydelig</a:t>
                </a:r>
                <a:endParaRPr lang="nb-NO" sz="1200">
                  <a:cs typeface="Arial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nb-NO" sz="1200"/>
                  <a:t>Fellestjenesten bør ha høy tilgjengelighet som bidrar til en lavere responstid</a:t>
                </a:r>
                <a:endParaRPr lang="nb-NO" sz="1200">
                  <a:cs typeface="Arial"/>
                </a:endParaRPr>
              </a:p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nb-NO" sz="1200"/>
                  <a:t>Fellestjenesten bør innta en proaktiv rolle som en utadrettet enhet</a:t>
                </a:r>
                <a:endParaRPr lang="nb-NO" sz="1200">
                  <a:cs typeface="Arial"/>
                </a:endParaRPr>
              </a:p>
            </p:txBody>
          </p:sp>
        </p:grpSp>
        <p:sp>
          <p:nvSpPr>
            <p:cNvPr id="33" name="フリーフォーム 15">
              <a:extLst>
                <a:ext uri="{FF2B5EF4-FFF2-40B4-BE49-F238E27FC236}">
                  <a16:creationId xmlns:a16="http://schemas.microsoft.com/office/drawing/2014/main" id="{0A7EE1CD-19E7-449D-BFAB-05DDF9EE5831}"/>
                </a:ext>
              </a:extLst>
            </p:cNvPr>
            <p:cNvSpPr/>
            <p:nvPr/>
          </p:nvSpPr>
          <p:spPr bwMode="gray">
            <a:xfrm>
              <a:off x="579000" y="3116261"/>
              <a:ext cx="8748000" cy="1008000"/>
            </a:xfrm>
            <a:custGeom>
              <a:avLst/>
              <a:gdLst>
                <a:gd name="connsiteX0" fmla="*/ 504000 w 8748000"/>
                <a:gd name="connsiteY0" fmla="*/ 0 h 1008000"/>
                <a:gd name="connsiteX1" fmla="*/ 519058 w 8748000"/>
                <a:gd name="connsiteY1" fmla="*/ 1518 h 1008000"/>
                <a:gd name="connsiteX2" fmla="*/ 519058 w 8748000"/>
                <a:gd name="connsiteY2" fmla="*/ 0 h 1008000"/>
                <a:gd name="connsiteX3" fmla="*/ 8251258 w 8748000"/>
                <a:gd name="connsiteY3" fmla="*/ 0 h 1008000"/>
                <a:gd name="connsiteX4" fmla="*/ 8745019 w 8748000"/>
                <a:gd name="connsiteY4" fmla="*/ 402426 h 1008000"/>
                <a:gd name="connsiteX5" fmla="*/ 8748000 w 8748000"/>
                <a:gd name="connsiteY5" fmla="*/ 432000 h 1008000"/>
                <a:gd name="connsiteX6" fmla="*/ 1000742 w 8748000"/>
                <a:gd name="connsiteY6" fmla="*/ 432000 h 1008000"/>
                <a:gd name="connsiteX7" fmla="*/ 1008000 w 8748000"/>
                <a:gd name="connsiteY7" fmla="*/ 504000 h 1008000"/>
                <a:gd name="connsiteX8" fmla="*/ 504000 w 8748000"/>
                <a:gd name="connsiteY8" fmla="*/ 1008000 h 1008000"/>
                <a:gd name="connsiteX9" fmla="*/ 0 w 8748000"/>
                <a:gd name="connsiteY9" fmla="*/ 504000 h 1008000"/>
                <a:gd name="connsiteX10" fmla="*/ 504000 w 8748000"/>
                <a:gd name="connsiteY10" fmla="*/ 0 h 10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48000" h="1008000">
                  <a:moveTo>
                    <a:pt x="504000" y="0"/>
                  </a:moveTo>
                  <a:lnTo>
                    <a:pt x="519058" y="1518"/>
                  </a:lnTo>
                  <a:lnTo>
                    <a:pt x="519058" y="0"/>
                  </a:lnTo>
                  <a:lnTo>
                    <a:pt x="8251258" y="0"/>
                  </a:lnTo>
                  <a:cubicBezTo>
                    <a:pt x="8494816" y="0"/>
                    <a:pt x="8698022" y="172762"/>
                    <a:pt x="8745019" y="402426"/>
                  </a:cubicBezTo>
                  <a:lnTo>
                    <a:pt x="8748000" y="432000"/>
                  </a:lnTo>
                  <a:lnTo>
                    <a:pt x="1000742" y="432000"/>
                  </a:lnTo>
                  <a:lnTo>
                    <a:pt x="1008000" y="504000"/>
                  </a:lnTo>
                  <a:cubicBezTo>
                    <a:pt x="1008000" y="782352"/>
                    <a:pt x="782352" y="1008000"/>
                    <a:pt x="504000" y="1008000"/>
                  </a:cubicBezTo>
                  <a:cubicBezTo>
                    <a:pt x="225648" y="1008000"/>
                    <a:pt x="0" y="782352"/>
                    <a:pt x="0" y="504000"/>
                  </a:cubicBezTo>
                  <a:cubicBezTo>
                    <a:pt x="0" y="225648"/>
                    <a:pt x="225648" y="0"/>
                    <a:pt x="504000" y="0"/>
                  </a:cubicBezTo>
                  <a:close/>
                </a:path>
              </a:pathLst>
            </a:cu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1008000" tIns="0" rIns="0" bIns="57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60000" marR="0" lvl="0" indent="-360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1" lang="en-US" altLang="ja-JP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   2  </a:t>
              </a:r>
              <a:r>
                <a:rPr kumimoji="1" lang="en-US" altLang="ja-JP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Kompetanse</a:t>
              </a:r>
              <a:endParaRPr kumimoji="1" lang="ja-JP" altLang="en-US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37" name="フリーフォーム 16">
              <a:extLst>
                <a:ext uri="{FF2B5EF4-FFF2-40B4-BE49-F238E27FC236}">
                  <a16:creationId xmlns:a16="http://schemas.microsoft.com/office/drawing/2014/main" id="{87774C8B-E0A8-48D8-9793-AA762ACDF4CB}"/>
                </a:ext>
              </a:extLst>
            </p:cNvPr>
            <p:cNvSpPr/>
            <p:nvPr/>
          </p:nvSpPr>
          <p:spPr bwMode="gray">
            <a:xfrm>
              <a:off x="579000" y="4468523"/>
              <a:ext cx="8748000" cy="1008000"/>
            </a:xfrm>
            <a:custGeom>
              <a:avLst/>
              <a:gdLst>
                <a:gd name="connsiteX0" fmla="*/ 504000 w 8748000"/>
                <a:gd name="connsiteY0" fmla="*/ 0 h 1008000"/>
                <a:gd name="connsiteX1" fmla="*/ 519058 w 8748000"/>
                <a:gd name="connsiteY1" fmla="*/ 1518 h 1008000"/>
                <a:gd name="connsiteX2" fmla="*/ 519058 w 8748000"/>
                <a:gd name="connsiteY2" fmla="*/ 0 h 1008000"/>
                <a:gd name="connsiteX3" fmla="*/ 8251258 w 8748000"/>
                <a:gd name="connsiteY3" fmla="*/ 0 h 1008000"/>
                <a:gd name="connsiteX4" fmla="*/ 8745019 w 8748000"/>
                <a:gd name="connsiteY4" fmla="*/ 402426 h 1008000"/>
                <a:gd name="connsiteX5" fmla="*/ 8748000 w 8748000"/>
                <a:gd name="connsiteY5" fmla="*/ 432000 h 1008000"/>
                <a:gd name="connsiteX6" fmla="*/ 1000742 w 8748000"/>
                <a:gd name="connsiteY6" fmla="*/ 432000 h 1008000"/>
                <a:gd name="connsiteX7" fmla="*/ 1008000 w 8748000"/>
                <a:gd name="connsiteY7" fmla="*/ 504000 h 1008000"/>
                <a:gd name="connsiteX8" fmla="*/ 504000 w 8748000"/>
                <a:gd name="connsiteY8" fmla="*/ 1008000 h 1008000"/>
                <a:gd name="connsiteX9" fmla="*/ 0 w 8748000"/>
                <a:gd name="connsiteY9" fmla="*/ 504000 h 1008000"/>
                <a:gd name="connsiteX10" fmla="*/ 504000 w 8748000"/>
                <a:gd name="connsiteY10" fmla="*/ 0 h 10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8748000" h="1008000">
                  <a:moveTo>
                    <a:pt x="504000" y="0"/>
                  </a:moveTo>
                  <a:lnTo>
                    <a:pt x="519058" y="1518"/>
                  </a:lnTo>
                  <a:lnTo>
                    <a:pt x="519058" y="0"/>
                  </a:lnTo>
                  <a:lnTo>
                    <a:pt x="8251258" y="0"/>
                  </a:lnTo>
                  <a:cubicBezTo>
                    <a:pt x="8494816" y="0"/>
                    <a:pt x="8698022" y="172762"/>
                    <a:pt x="8745019" y="402426"/>
                  </a:cubicBezTo>
                  <a:lnTo>
                    <a:pt x="8748000" y="432000"/>
                  </a:lnTo>
                  <a:lnTo>
                    <a:pt x="1000742" y="432000"/>
                  </a:lnTo>
                  <a:lnTo>
                    <a:pt x="1008000" y="504000"/>
                  </a:lnTo>
                  <a:cubicBezTo>
                    <a:pt x="1008000" y="782352"/>
                    <a:pt x="782352" y="1008000"/>
                    <a:pt x="504000" y="1008000"/>
                  </a:cubicBezTo>
                  <a:cubicBezTo>
                    <a:pt x="225648" y="1008000"/>
                    <a:pt x="0" y="782352"/>
                    <a:pt x="0" y="504000"/>
                  </a:cubicBezTo>
                  <a:cubicBezTo>
                    <a:pt x="0" y="225648"/>
                    <a:pt x="225648" y="0"/>
                    <a:pt x="504000" y="0"/>
                  </a:cubicBezTo>
                  <a:close/>
                </a:path>
              </a:pathLst>
            </a:custGeom>
            <a:solidFill>
              <a:schemeClr val="accent1">
                <a:lumMod val="25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rot="0" spcFirstLastPara="0" vertOverflow="overflow" horzOverflow="overflow" vert="horz" wrap="square" lIns="1008000" tIns="0" rIns="0" bIns="57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360000" marR="0" lvl="0" indent="-3600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 2" pitchFamily="18" charset="2"/>
                <a:buNone/>
                <a:tabLst/>
                <a:defRPr/>
              </a:pPr>
              <a:r>
                <a:rPr kumimoji="1" lang="en-US" altLang="ja-JP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  3  </a:t>
              </a:r>
              <a:r>
                <a:rPr kumimoji="1" lang="en-US" altLang="ja-JP" sz="1800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Helhetlig</a:t>
              </a:r>
              <a:r>
                <a:rPr kumimoji="1" lang="en-US" altLang="ja-JP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 </a:t>
              </a:r>
              <a:r>
                <a:rPr kumimoji="1" lang="en-US" altLang="ja-JP" sz="1800" b="1" i="0" u="none" strike="noStrike" kern="1200" cap="none" spc="0" normalizeH="0" baseline="0" noProof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saksgang</a:t>
              </a:r>
              <a:endParaRPr kumimoji="1" lang="ja-JP" altLang="en-US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sp>
        <p:nvSpPr>
          <p:cNvPr id="40" name="正方形/長方形 23">
            <a:extLst>
              <a:ext uri="{FF2B5EF4-FFF2-40B4-BE49-F238E27FC236}">
                <a16:creationId xmlns:a16="http://schemas.microsoft.com/office/drawing/2014/main" id="{F7881073-00C2-4475-8CCC-484C80765EE6}"/>
              </a:ext>
            </a:extLst>
          </p:cNvPr>
          <p:cNvSpPr/>
          <p:nvPr/>
        </p:nvSpPr>
        <p:spPr bwMode="gray">
          <a:xfrm>
            <a:off x="2000558" y="4011532"/>
            <a:ext cx="9046286" cy="68924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Medarbeiderne i Fellestjenesten bør ha høy kompetanse innenfor sitt fagfe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De bør også ha en sterk motivasjon for oppgavene som skal utføres</a:t>
            </a:r>
            <a:endParaRPr lang="nb-NO" sz="1200">
              <a:cs typeface="Arial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200"/>
              <a:t>I tillegg til høy fagkompetanse bør den ansatte ha god kunnskap om NTNUs virksomhet, samt tilstrekkelig kjennskap til enhetene som støttes</a:t>
            </a:r>
            <a:endParaRPr lang="nb-NO" sz="1200">
              <a:cs typeface="Arial"/>
            </a:endParaRPr>
          </a:p>
        </p:txBody>
      </p:sp>
      <p:sp>
        <p:nvSpPr>
          <p:cNvPr id="41" name="正方形/長方形 23">
            <a:extLst>
              <a:ext uri="{FF2B5EF4-FFF2-40B4-BE49-F238E27FC236}">
                <a16:creationId xmlns:a16="http://schemas.microsoft.com/office/drawing/2014/main" id="{E406B972-B89E-4571-91BA-7E0ED2EB5D48}"/>
              </a:ext>
            </a:extLst>
          </p:cNvPr>
          <p:cNvSpPr/>
          <p:nvPr/>
        </p:nvSpPr>
        <p:spPr bwMode="gray">
          <a:xfrm>
            <a:off x="2000558" y="5517159"/>
            <a:ext cx="9046286" cy="689241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lvl="0" indent="-171450" defTabSz="914400">
              <a:buFont typeface="Arial" panose="020B0604020202020204" pitchFamily="34" charset="0"/>
              <a:buChar char="•"/>
              <a:defRPr/>
            </a:pPr>
            <a:r>
              <a:rPr lang="nb-NO" sz="1200"/>
              <a:t>Fellestjenesten bør sikre at saksflyter oppleves som helhetlig</a:t>
            </a:r>
          </a:p>
          <a:p>
            <a:pPr marL="628650" lvl="1" indent="-171450" defTabSz="914400">
              <a:buFont typeface="Arial" panose="020B0604020202020204" pitchFamily="34" charset="0"/>
              <a:buChar char="•"/>
              <a:defRPr/>
            </a:pPr>
            <a:r>
              <a:rPr lang="nb-NO" sz="1200"/>
              <a:t>Saksgangen bør være lett å få oversikt over</a:t>
            </a:r>
            <a:endParaRPr lang="nb-NO" sz="1200">
              <a:cs typeface="Arial"/>
            </a:endParaRPr>
          </a:p>
          <a:p>
            <a:pPr marL="628650" lvl="1" indent="-171450" defTabSz="914400">
              <a:buFont typeface="Arial" panose="020B0604020202020204" pitchFamily="34" charset="0"/>
              <a:buChar char="•"/>
              <a:defRPr/>
            </a:pPr>
            <a:r>
              <a:rPr lang="nb-NO" sz="1200"/>
              <a:t>Tjenestesenteret bør tilstrebe å tilgjengeliggjøre saksgang for brukere</a:t>
            </a:r>
            <a:endParaRPr kumimoji="1" lang="ja-JP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2" name="Freeform 346">
            <a:extLst>
              <a:ext uri="{FF2B5EF4-FFF2-40B4-BE49-F238E27FC236}">
                <a16:creationId xmlns:a16="http://schemas.microsoft.com/office/drawing/2014/main" id="{BFEE0805-B8B8-4B71-BD1A-398BA55A515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09002" y="5130232"/>
            <a:ext cx="946164" cy="946164"/>
          </a:xfrm>
          <a:custGeom>
            <a:avLst/>
            <a:gdLst>
              <a:gd name="T0" fmla="*/ 277 w 512"/>
              <a:gd name="T1" fmla="*/ 394 h 512"/>
              <a:gd name="T2" fmla="*/ 149 w 512"/>
              <a:gd name="T3" fmla="*/ 202 h 512"/>
              <a:gd name="T4" fmla="*/ 170 w 512"/>
              <a:gd name="T5" fmla="*/ 224 h 512"/>
              <a:gd name="T6" fmla="*/ 266 w 512"/>
              <a:gd name="T7" fmla="*/ 234 h 512"/>
              <a:gd name="T8" fmla="*/ 170 w 512"/>
              <a:gd name="T9" fmla="*/ 245 h 512"/>
              <a:gd name="T10" fmla="*/ 170 w 512"/>
              <a:gd name="T11" fmla="*/ 224 h 512"/>
              <a:gd name="T12" fmla="*/ 256 w 512"/>
              <a:gd name="T13" fmla="*/ 266 h 512"/>
              <a:gd name="T14" fmla="*/ 256 w 512"/>
              <a:gd name="T15" fmla="*/ 288 h 512"/>
              <a:gd name="T16" fmla="*/ 160 w 512"/>
              <a:gd name="T17" fmla="*/ 277 h 512"/>
              <a:gd name="T18" fmla="*/ 170 w 512"/>
              <a:gd name="T19" fmla="*/ 309 h 512"/>
              <a:gd name="T20" fmla="*/ 266 w 512"/>
              <a:gd name="T21" fmla="*/ 320 h 512"/>
              <a:gd name="T22" fmla="*/ 170 w 512"/>
              <a:gd name="T23" fmla="*/ 330 h 512"/>
              <a:gd name="T24" fmla="*/ 170 w 512"/>
              <a:gd name="T25" fmla="*/ 309 h 512"/>
              <a:gd name="T26" fmla="*/ 256 w 512"/>
              <a:gd name="T27" fmla="*/ 352 h 512"/>
              <a:gd name="T28" fmla="*/ 256 w 512"/>
              <a:gd name="T29" fmla="*/ 373 h 512"/>
              <a:gd name="T30" fmla="*/ 160 w 512"/>
              <a:gd name="T31" fmla="*/ 362 h 512"/>
              <a:gd name="T32" fmla="*/ 256 w 512"/>
              <a:gd name="T33" fmla="*/ 0 h 512"/>
              <a:gd name="T34" fmla="*/ 256 w 512"/>
              <a:gd name="T35" fmla="*/ 512 h 512"/>
              <a:gd name="T36" fmla="*/ 256 w 512"/>
              <a:gd name="T37" fmla="*/ 0 h 512"/>
              <a:gd name="T38" fmla="*/ 288 w 512"/>
              <a:gd name="T39" fmla="*/ 416 h 512"/>
              <a:gd name="T40" fmla="*/ 128 w 512"/>
              <a:gd name="T41" fmla="*/ 405 h 512"/>
              <a:gd name="T42" fmla="*/ 138 w 512"/>
              <a:gd name="T43" fmla="*/ 181 h 512"/>
              <a:gd name="T44" fmla="*/ 298 w 512"/>
              <a:gd name="T45" fmla="*/ 192 h 512"/>
              <a:gd name="T46" fmla="*/ 341 w 512"/>
              <a:gd name="T47" fmla="*/ 362 h 512"/>
              <a:gd name="T48" fmla="*/ 320 w 512"/>
              <a:gd name="T49" fmla="*/ 362 h 512"/>
              <a:gd name="T50" fmla="*/ 181 w 512"/>
              <a:gd name="T51" fmla="*/ 160 h 512"/>
              <a:gd name="T52" fmla="*/ 181 w 512"/>
              <a:gd name="T53" fmla="*/ 138 h 512"/>
              <a:gd name="T54" fmla="*/ 341 w 512"/>
              <a:gd name="T55" fmla="*/ 149 h 512"/>
              <a:gd name="T56" fmla="*/ 384 w 512"/>
              <a:gd name="T57" fmla="*/ 320 h 512"/>
              <a:gd name="T58" fmla="*/ 362 w 512"/>
              <a:gd name="T59" fmla="*/ 320 h 512"/>
              <a:gd name="T60" fmla="*/ 224 w 512"/>
              <a:gd name="T61" fmla="*/ 117 h 512"/>
              <a:gd name="T62" fmla="*/ 224 w 512"/>
              <a:gd name="T63" fmla="*/ 96 h 512"/>
              <a:gd name="T64" fmla="*/ 384 w 512"/>
              <a:gd name="T65" fmla="*/ 106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512" h="512">
                <a:moveTo>
                  <a:pt x="149" y="394"/>
                </a:moveTo>
                <a:cubicBezTo>
                  <a:pt x="277" y="394"/>
                  <a:pt x="277" y="394"/>
                  <a:pt x="277" y="394"/>
                </a:cubicBezTo>
                <a:cubicBezTo>
                  <a:pt x="277" y="202"/>
                  <a:pt x="277" y="202"/>
                  <a:pt x="277" y="202"/>
                </a:cubicBezTo>
                <a:cubicBezTo>
                  <a:pt x="149" y="202"/>
                  <a:pt x="149" y="202"/>
                  <a:pt x="149" y="202"/>
                </a:cubicBezTo>
                <a:lnTo>
                  <a:pt x="149" y="394"/>
                </a:lnTo>
                <a:close/>
                <a:moveTo>
                  <a:pt x="170" y="224"/>
                </a:moveTo>
                <a:cubicBezTo>
                  <a:pt x="256" y="224"/>
                  <a:pt x="256" y="224"/>
                  <a:pt x="256" y="224"/>
                </a:cubicBezTo>
                <a:cubicBezTo>
                  <a:pt x="262" y="224"/>
                  <a:pt x="266" y="228"/>
                  <a:pt x="266" y="234"/>
                </a:cubicBezTo>
                <a:cubicBezTo>
                  <a:pt x="266" y="240"/>
                  <a:pt x="262" y="245"/>
                  <a:pt x="256" y="245"/>
                </a:cubicBezTo>
                <a:cubicBezTo>
                  <a:pt x="170" y="245"/>
                  <a:pt x="170" y="245"/>
                  <a:pt x="170" y="245"/>
                </a:cubicBezTo>
                <a:cubicBezTo>
                  <a:pt x="164" y="245"/>
                  <a:pt x="160" y="240"/>
                  <a:pt x="160" y="234"/>
                </a:cubicBezTo>
                <a:cubicBezTo>
                  <a:pt x="160" y="228"/>
                  <a:pt x="164" y="224"/>
                  <a:pt x="170" y="224"/>
                </a:cubicBezTo>
                <a:close/>
                <a:moveTo>
                  <a:pt x="170" y="266"/>
                </a:moveTo>
                <a:cubicBezTo>
                  <a:pt x="256" y="266"/>
                  <a:pt x="256" y="266"/>
                  <a:pt x="256" y="266"/>
                </a:cubicBezTo>
                <a:cubicBezTo>
                  <a:pt x="262" y="266"/>
                  <a:pt x="266" y="271"/>
                  <a:pt x="266" y="277"/>
                </a:cubicBezTo>
                <a:cubicBezTo>
                  <a:pt x="266" y="283"/>
                  <a:pt x="262" y="288"/>
                  <a:pt x="256" y="288"/>
                </a:cubicBezTo>
                <a:cubicBezTo>
                  <a:pt x="170" y="288"/>
                  <a:pt x="170" y="288"/>
                  <a:pt x="170" y="288"/>
                </a:cubicBezTo>
                <a:cubicBezTo>
                  <a:pt x="164" y="288"/>
                  <a:pt x="160" y="283"/>
                  <a:pt x="160" y="277"/>
                </a:cubicBezTo>
                <a:cubicBezTo>
                  <a:pt x="160" y="271"/>
                  <a:pt x="164" y="266"/>
                  <a:pt x="170" y="266"/>
                </a:cubicBezTo>
                <a:close/>
                <a:moveTo>
                  <a:pt x="170" y="309"/>
                </a:moveTo>
                <a:cubicBezTo>
                  <a:pt x="256" y="309"/>
                  <a:pt x="256" y="309"/>
                  <a:pt x="256" y="309"/>
                </a:cubicBezTo>
                <a:cubicBezTo>
                  <a:pt x="262" y="309"/>
                  <a:pt x="266" y="314"/>
                  <a:pt x="266" y="320"/>
                </a:cubicBezTo>
                <a:cubicBezTo>
                  <a:pt x="266" y="326"/>
                  <a:pt x="262" y="330"/>
                  <a:pt x="256" y="330"/>
                </a:cubicBezTo>
                <a:cubicBezTo>
                  <a:pt x="170" y="330"/>
                  <a:pt x="170" y="330"/>
                  <a:pt x="170" y="330"/>
                </a:cubicBezTo>
                <a:cubicBezTo>
                  <a:pt x="164" y="330"/>
                  <a:pt x="160" y="326"/>
                  <a:pt x="160" y="320"/>
                </a:cubicBezTo>
                <a:cubicBezTo>
                  <a:pt x="160" y="314"/>
                  <a:pt x="164" y="309"/>
                  <a:pt x="170" y="309"/>
                </a:cubicBezTo>
                <a:close/>
                <a:moveTo>
                  <a:pt x="170" y="352"/>
                </a:moveTo>
                <a:cubicBezTo>
                  <a:pt x="256" y="352"/>
                  <a:pt x="256" y="352"/>
                  <a:pt x="256" y="352"/>
                </a:cubicBezTo>
                <a:cubicBezTo>
                  <a:pt x="262" y="352"/>
                  <a:pt x="266" y="356"/>
                  <a:pt x="266" y="362"/>
                </a:cubicBezTo>
                <a:cubicBezTo>
                  <a:pt x="266" y="368"/>
                  <a:pt x="262" y="373"/>
                  <a:pt x="256" y="373"/>
                </a:cubicBezTo>
                <a:cubicBezTo>
                  <a:pt x="170" y="373"/>
                  <a:pt x="170" y="373"/>
                  <a:pt x="170" y="373"/>
                </a:cubicBezTo>
                <a:cubicBezTo>
                  <a:pt x="164" y="373"/>
                  <a:pt x="160" y="368"/>
                  <a:pt x="160" y="362"/>
                </a:cubicBezTo>
                <a:cubicBezTo>
                  <a:pt x="160" y="356"/>
                  <a:pt x="164" y="352"/>
                  <a:pt x="170" y="352"/>
                </a:cubicBezTo>
                <a:close/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8" y="405"/>
                </a:moveTo>
                <a:cubicBezTo>
                  <a:pt x="298" y="411"/>
                  <a:pt x="294" y="416"/>
                  <a:pt x="288" y="416"/>
                </a:cubicBezTo>
                <a:cubicBezTo>
                  <a:pt x="138" y="416"/>
                  <a:pt x="138" y="416"/>
                  <a:pt x="138" y="416"/>
                </a:cubicBezTo>
                <a:cubicBezTo>
                  <a:pt x="132" y="416"/>
                  <a:pt x="128" y="411"/>
                  <a:pt x="128" y="405"/>
                </a:cubicBezTo>
                <a:cubicBezTo>
                  <a:pt x="128" y="192"/>
                  <a:pt x="128" y="192"/>
                  <a:pt x="128" y="192"/>
                </a:cubicBezTo>
                <a:cubicBezTo>
                  <a:pt x="128" y="186"/>
                  <a:pt x="132" y="181"/>
                  <a:pt x="138" y="181"/>
                </a:cubicBezTo>
                <a:cubicBezTo>
                  <a:pt x="288" y="181"/>
                  <a:pt x="288" y="181"/>
                  <a:pt x="288" y="181"/>
                </a:cubicBezTo>
                <a:cubicBezTo>
                  <a:pt x="294" y="181"/>
                  <a:pt x="298" y="186"/>
                  <a:pt x="298" y="192"/>
                </a:cubicBezTo>
                <a:lnTo>
                  <a:pt x="298" y="405"/>
                </a:lnTo>
                <a:close/>
                <a:moveTo>
                  <a:pt x="341" y="362"/>
                </a:moveTo>
                <a:cubicBezTo>
                  <a:pt x="341" y="368"/>
                  <a:pt x="336" y="373"/>
                  <a:pt x="330" y="373"/>
                </a:cubicBezTo>
                <a:cubicBezTo>
                  <a:pt x="324" y="373"/>
                  <a:pt x="320" y="368"/>
                  <a:pt x="320" y="362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181" y="160"/>
                  <a:pt x="181" y="160"/>
                  <a:pt x="181" y="160"/>
                </a:cubicBezTo>
                <a:cubicBezTo>
                  <a:pt x="175" y="160"/>
                  <a:pt x="170" y="155"/>
                  <a:pt x="170" y="149"/>
                </a:cubicBezTo>
                <a:cubicBezTo>
                  <a:pt x="170" y="143"/>
                  <a:pt x="175" y="138"/>
                  <a:pt x="181" y="138"/>
                </a:cubicBezTo>
                <a:cubicBezTo>
                  <a:pt x="330" y="138"/>
                  <a:pt x="330" y="138"/>
                  <a:pt x="330" y="138"/>
                </a:cubicBezTo>
                <a:cubicBezTo>
                  <a:pt x="336" y="138"/>
                  <a:pt x="341" y="143"/>
                  <a:pt x="341" y="149"/>
                </a:cubicBezTo>
                <a:lnTo>
                  <a:pt x="341" y="362"/>
                </a:lnTo>
                <a:close/>
                <a:moveTo>
                  <a:pt x="384" y="320"/>
                </a:moveTo>
                <a:cubicBezTo>
                  <a:pt x="384" y="326"/>
                  <a:pt x="379" y="330"/>
                  <a:pt x="373" y="330"/>
                </a:cubicBezTo>
                <a:cubicBezTo>
                  <a:pt x="367" y="330"/>
                  <a:pt x="362" y="326"/>
                  <a:pt x="362" y="320"/>
                </a:cubicBezTo>
                <a:cubicBezTo>
                  <a:pt x="362" y="117"/>
                  <a:pt x="362" y="117"/>
                  <a:pt x="362" y="117"/>
                </a:cubicBezTo>
                <a:cubicBezTo>
                  <a:pt x="224" y="117"/>
                  <a:pt x="224" y="117"/>
                  <a:pt x="224" y="117"/>
                </a:cubicBezTo>
                <a:cubicBezTo>
                  <a:pt x="218" y="117"/>
                  <a:pt x="213" y="112"/>
                  <a:pt x="213" y="106"/>
                </a:cubicBezTo>
                <a:cubicBezTo>
                  <a:pt x="213" y="100"/>
                  <a:pt x="218" y="96"/>
                  <a:pt x="224" y="96"/>
                </a:cubicBezTo>
                <a:cubicBezTo>
                  <a:pt x="373" y="96"/>
                  <a:pt x="373" y="96"/>
                  <a:pt x="373" y="96"/>
                </a:cubicBezTo>
                <a:cubicBezTo>
                  <a:pt x="379" y="96"/>
                  <a:pt x="384" y="100"/>
                  <a:pt x="384" y="106"/>
                </a:cubicBezTo>
                <a:lnTo>
                  <a:pt x="384" y="32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446" tIns="60723" rIns="121446" bIns="60723" numCol="1" anchor="t" anchorCtr="0" compatLnSpc="1">
            <a:prstTxWarp prst="textNoShape">
              <a:avLst/>
            </a:prstTxWarp>
          </a:bodyPr>
          <a:lstStyle/>
          <a:p>
            <a:endParaRPr lang="en-GB" sz="996"/>
          </a:p>
        </p:txBody>
      </p:sp>
      <p:grpSp>
        <p:nvGrpSpPr>
          <p:cNvPr id="23" name="Group 437">
            <a:extLst>
              <a:ext uri="{FF2B5EF4-FFF2-40B4-BE49-F238E27FC236}">
                <a16:creationId xmlns:a16="http://schemas.microsoft.com/office/drawing/2014/main" id="{67D6DC71-15FE-4BC9-A2E3-FE8E97DDA5D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678304" y="1893290"/>
            <a:ext cx="980560" cy="980560"/>
            <a:chOff x="3130" y="1561"/>
            <a:chExt cx="340" cy="340"/>
          </a:xfrm>
          <a:solidFill>
            <a:schemeClr val="bg1"/>
          </a:solidFill>
        </p:grpSpPr>
        <p:sp>
          <p:nvSpPr>
            <p:cNvPr id="24" name="Freeform 438">
              <a:extLst>
                <a:ext uri="{FF2B5EF4-FFF2-40B4-BE49-F238E27FC236}">
                  <a16:creationId xmlns:a16="http://schemas.microsoft.com/office/drawing/2014/main" id="{1348F683-A679-45F1-AE7F-95AD73CCC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7" y="1696"/>
              <a:ext cx="28" cy="28"/>
            </a:xfrm>
            <a:custGeom>
              <a:avLst/>
              <a:gdLst>
                <a:gd name="T0" fmla="*/ 0 w 42"/>
                <a:gd name="T1" fmla="*/ 0 h 42"/>
                <a:gd name="T2" fmla="*/ 0 w 42"/>
                <a:gd name="T3" fmla="*/ 42 h 42"/>
                <a:gd name="T4" fmla="*/ 42 w 42"/>
                <a:gd name="T5" fmla="*/ 42 h 42"/>
                <a:gd name="T6" fmla="*/ 0 w 42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42">
                  <a:moveTo>
                    <a:pt x="0" y="0"/>
                  </a:moveTo>
                  <a:cubicBezTo>
                    <a:pt x="0" y="42"/>
                    <a:pt x="0" y="42"/>
                    <a:pt x="0" y="42"/>
                  </a:cubicBezTo>
                  <a:cubicBezTo>
                    <a:pt x="42" y="42"/>
                    <a:pt x="42" y="42"/>
                    <a:pt x="42" y="42"/>
                  </a:cubicBezTo>
                  <a:cubicBezTo>
                    <a:pt x="38" y="21"/>
                    <a:pt x="21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25" name="Freeform 439">
              <a:extLst>
                <a:ext uri="{FF2B5EF4-FFF2-40B4-BE49-F238E27FC236}">
                  <a16:creationId xmlns:a16="http://schemas.microsoft.com/office/drawing/2014/main" id="{F8952BA2-F4D1-481E-8D05-A2FCCD808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5" y="1696"/>
              <a:ext cx="28" cy="28"/>
            </a:xfrm>
            <a:custGeom>
              <a:avLst/>
              <a:gdLst>
                <a:gd name="T0" fmla="*/ 0 w 42"/>
                <a:gd name="T1" fmla="*/ 42 h 42"/>
                <a:gd name="T2" fmla="*/ 42 w 42"/>
                <a:gd name="T3" fmla="*/ 42 h 42"/>
                <a:gd name="T4" fmla="*/ 42 w 42"/>
                <a:gd name="T5" fmla="*/ 0 h 42"/>
                <a:gd name="T6" fmla="*/ 0 w 42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42">
                  <a:moveTo>
                    <a:pt x="0" y="42"/>
                  </a:moveTo>
                  <a:cubicBezTo>
                    <a:pt x="42" y="42"/>
                    <a:pt x="42" y="42"/>
                    <a:pt x="42" y="42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21" y="5"/>
                    <a:pt x="5" y="21"/>
                    <a:pt x="0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26" name="Freeform 440">
              <a:extLst>
                <a:ext uri="{FF2B5EF4-FFF2-40B4-BE49-F238E27FC236}">
                  <a16:creationId xmlns:a16="http://schemas.microsoft.com/office/drawing/2014/main" id="{0376B9B9-2F4E-4FF3-8DBB-47939881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0" y="1661"/>
              <a:ext cx="63" cy="63"/>
            </a:xfrm>
            <a:custGeom>
              <a:avLst/>
              <a:gdLst>
                <a:gd name="T0" fmla="*/ 0 w 95"/>
                <a:gd name="T1" fmla="*/ 95 h 95"/>
                <a:gd name="T2" fmla="*/ 32 w 95"/>
                <a:gd name="T3" fmla="*/ 95 h 95"/>
                <a:gd name="T4" fmla="*/ 95 w 95"/>
                <a:gd name="T5" fmla="*/ 32 h 95"/>
                <a:gd name="T6" fmla="*/ 95 w 95"/>
                <a:gd name="T7" fmla="*/ 0 h 95"/>
                <a:gd name="T8" fmla="*/ 0 w 95"/>
                <a:gd name="T9" fmla="*/ 9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5">
                  <a:moveTo>
                    <a:pt x="0" y="95"/>
                  </a:moveTo>
                  <a:cubicBezTo>
                    <a:pt x="32" y="95"/>
                    <a:pt x="32" y="95"/>
                    <a:pt x="32" y="95"/>
                  </a:cubicBezTo>
                  <a:cubicBezTo>
                    <a:pt x="37" y="62"/>
                    <a:pt x="62" y="37"/>
                    <a:pt x="95" y="32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45" y="5"/>
                    <a:pt x="5" y="45"/>
                    <a:pt x="0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27" name="Freeform 441">
              <a:extLst>
                <a:ext uri="{FF2B5EF4-FFF2-40B4-BE49-F238E27FC236}">
                  <a16:creationId xmlns:a16="http://schemas.microsoft.com/office/drawing/2014/main" id="{23A55C56-E781-40DB-B35B-2F1F67D23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5" y="1738"/>
              <a:ext cx="28" cy="28"/>
            </a:xfrm>
            <a:custGeom>
              <a:avLst/>
              <a:gdLst>
                <a:gd name="T0" fmla="*/ 42 w 42"/>
                <a:gd name="T1" fmla="*/ 42 h 42"/>
                <a:gd name="T2" fmla="*/ 42 w 42"/>
                <a:gd name="T3" fmla="*/ 0 h 42"/>
                <a:gd name="T4" fmla="*/ 0 w 42"/>
                <a:gd name="T5" fmla="*/ 0 h 42"/>
                <a:gd name="T6" fmla="*/ 42 w 42"/>
                <a:gd name="T7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42">
                  <a:moveTo>
                    <a:pt x="42" y="42"/>
                  </a:moveTo>
                  <a:cubicBezTo>
                    <a:pt x="42" y="0"/>
                    <a:pt x="42" y="0"/>
                    <a:pt x="4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" y="21"/>
                    <a:pt x="21" y="38"/>
                    <a:pt x="42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5" name="Freeform 442">
              <a:extLst>
                <a:ext uri="{FF2B5EF4-FFF2-40B4-BE49-F238E27FC236}">
                  <a16:creationId xmlns:a16="http://schemas.microsoft.com/office/drawing/2014/main" id="{4432053C-9B27-4FDA-8344-000DC2754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30" y="1738"/>
              <a:ext cx="63" cy="63"/>
            </a:xfrm>
            <a:custGeom>
              <a:avLst/>
              <a:gdLst>
                <a:gd name="T0" fmla="*/ 32 w 95"/>
                <a:gd name="T1" fmla="*/ 0 h 96"/>
                <a:gd name="T2" fmla="*/ 0 w 95"/>
                <a:gd name="T3" fmla="*/ 0 h 96"/>
                <a:gd name="T4" fmla="*/ 95 w 95"/>
                <a:gd name="T5" fmla="*/ 96 h 96"/>
                <a:gd name="T6" fmla="*/ 95 w 95"/>
                <a:gd name="T7" fmla="*/ 63 h 96"/>
                <a:gd name="T8" fmla="*/ 32 w 95"/>
                <a:gd name="T9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" h="96">
                  <a:moveTo>
                    <a:pt x="3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5" y="51"/>
                    <a:pt x="45" y="91"/>
                    <a:pt x="95" y="96"/>
                  </a:cubicBezTo>
                  <a:cubicBezTo>
                    <a:pt x="95" y="63"/>
                    <a:pt x="95" y="63"/>
                    <a:pt x="95" y="63"/>
                  </a:cubicBezTo>
                  <a:cubicBezTo>
                    <a:pt x="62" y="59"/>
                    <a:pt x="37" y="33"/>
                    <a:pt x="3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39" name="Freeform 443">
              <a:extLst>
                <a:ext uri="{FF2B5EF4-FFF2-40B4-BE49-F238E27FC236}">
                  <a16:creationId xmlns:a16="http://schemas.microsoft.com/office/drawing/2014/main" id="{5240A671-C55F-4956-A250-6943EEDE1C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7" y="1738"/>
              <a:ext cx="28" cy="28"/>
            </a:xfrm>
            <a:custGeom>
              <a:avLst/>
              <a:gdLst>
                <a:gd name="T0" fmla="*/ 42 w 42"/>
                <a:gd name="T1" fmla="*/ 0 h 42"/>
                <a:gd name="T2" fmla="*/ 0 w 42"/>
                <a:gd name="T3" fmla="*/ 0 h 42"/>
                <a:gd name="T4" fmla="*/ 0 w 42"/>
                <a:gd name="T5" fmla="*/ 42 h 42"/>
                <a:gd name="T6" fmla="*/ 42 w 42"/>
                <a:gd name="T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2" h="42">
                  <a:moveTo>
                    <a:pt x="4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21" y="38"/>
                    <a:pt x="38" y="21"/>
                    <a:pt x="4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2" name="Freeform 444">
              <a:extLst>
                <a:ext uri="{FF2B5EF4-FFF2-40B4-BE49-F238E27FC236}">
                  <a16:creationId xmlns:a16="http://schemas.microsoft.com/office/drawing/2014/main" id="{669FED6E-B243-4F81-8CA9-8C25F99CB7B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30" y="1561"/>
              <a:ext cx="340" cy="340"/>
            </a:xfrm>
            <a:custGeom>
              <a:avLst/>
              <a:gdLst>
                <a:gd name="T0" fmla="*/ 256 w 512"/>
                <a:gd name="T1" fmla="*/ 0 h 512"/>
                <a:gd name="T2" fmla="*/ 0 w 512"/>
                <a:gd name="T3" fmla="*/ 256 h 512"/>
                <a:gd name="T4" fmla="*/ 256 w 512"/>
                <a:gd name="T5" fmla="*/ 512 h 512"/>
                <a:gd name="T6" fmla="*/ 512 w 512"/>
                <a:gd name="T7" fmla="*/ 256 h 512"/>
                <a:gd name="T8" fmla="*/ 256 w 512"/>
                <a:gd name="T9" fmla="*/ 0 h 512"/>
                <a:gd name="T10" fmla="*/ 405 w 512"/>
                <a:gd name="T11" fmla="*/ 266 h 512"/>
                <a:gd name="T12" fmla="*/ 383 w 512"/>
                <a:gd name="T13" fmla="*/ 266 h 512"/>
                <a:gd name="T14" fmla="*/ 266 w 512"/>
                <a:gd name="T15" fmla="*/ 383 h 512"/>
                <a:gd name="T16" fmla="*/ 266 w 512"/>
                <a:gd name="T17" fmla="*/ 405 h 512"/>
                <a:gd name="T18" fmla="*/ 256 w 512"/>
                <a:gd name="T19" fmla="*/ 416 h 512"/>
                <a:gd name="T20" fmla="*/ 245 w 512"/>
                <a:gd name="T21" fmla="*/ 405 h 512"/>
                <a:gd name="T22" fmla="*/ 245 w 512"/>
                <a:gd name="T23" fmla="*/ 383 h 512"/>
                <a:gd name="T24" fmla="*/ 128 w 512"/>
                <a:gd name="T25" fmla="*/ 266 h 512"/>
                <a:gd name="T26" fmla="*/ 106 w 512"/>
                <a:gd name="T27" fmla="*/ 266 h 512"/>
                <a:gd name="T28" fmla="*/ 96 w 512"/>
                <a:gd name="T29" fmla="*/ 256 h 512"/>
                <a:gd name="T30" fmla="*/ 106 w 512"/>
                <a:gd name="T31" fmla="*/ 245 h 512"/>
                <a:gd name="T32" fmla="*/ 128 w 512"/>
                <a:gd name="T33" fmla="*/ 245 h 512"/>
                <a:gd name="T34" fmla="*/ 245 w 512"/>
                <a:gd name="T35" fmla="*/ 128 h 512"/>
                <a:gd name="T36" fmla="*/ 245 w 512"/>
                <a:gd name="T37" fmla="*/ 106 h 512"/>
                <a:gd name="T38" fmla="*/ 256 w 512"/>
                <a:gd name="T39" fmla="*/ 96 h 512"/>
                <a:gd name="T40" fmla="*/ 266 w 512"/>
                <a:gd name="T41" fmla="*/ 106 h 512"/>
                <a:gd name="T42" fmla="*/ 266 w 512"/>
                <a:gd name="T43" fmla="*/ 128 h 512"/>
                <a:gd name="T44" fmla="*/ 383 w 512"/>
                <a:gd name="T45" fmla="*/ 245 h 512"/>
                <a:gd name="T46" fmla="*/ 405 w 512"/>
                <a:gd name="T47" fmla="*/ 245 h 512"/>
                <a:gd name="T48" fmla="*/ 416 w 512"/>
                <a:gd name="T49" fmla="*/ 256 h 512"/>
                <a:gd name="T50" fmla="*/ 405 w 512"/>
                <a:gd name="T51" fmla="*/ 266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12" h="512"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  <a:moveTo>
                    <a:pt x="405" y="266"/>
                  </a:moveTo>
                  <a:cubicBezTo>
                    <a:pt x="383" y="266"/>
                    <a:pt x="383" y="266"/>
                    <a:pt x="383" y="266"/>
                  </a:cubicBezTo>
                  <a:cubicBezTo>
                    <a:pt x="378" y="328"/>
                    <a:pt x="328" y="378"/>
                    <a:pt x="266" y="383"/>
                  </a:cubicBezTo>
                  <a:cubicBezTo>
                    <a:pt x="266" y="405"/>
                    <a:pt x="266" y="405"/>
                    <a:pt x="266" y="405"/>
                  </a:cubicBezTo>
                  <a:cubicBezTo>
                    <a:pt x="266" y="411"/>
                    <a:pt x="262" y="416"/>
                    <a:pt x="256" y="416"/>
                  </a:cubicBezTo>
                  <a:cubicBezTo>
                    <a:pt x="250" y="416"/>
                    <a:pt x="245" y="411"/>
                    <a:pt x="245" y="405"/>
                  </a:cubicBezTo>
                  <a:cubicBezTo>
                    <a:pt x="245" y="383"/>
                    <a:pt x="245" y="383"/>
                    <a:pt x="245" y="383"/>
                  </a:cubicBezTo>
                  <a:cubicBezTo>
                    <a:pt x="183" y="378"/>
                    <a:pt x="133" y="328"/>
                    <a:pt x="128" y="266"/>
                  </a:cubicBezTo>
                  <a:cubicBezTo>
                    <a:pt x="106" y="266"/>
                    <a:pt x="106" y="266"/>
                    <a:pt x="106" y="266"/>
                  </a:cubicBezTo>
                  <a:cubicBezTo>
                    <a:pt x="100" y="266"/>
                    <a:pt x="96" y="262"/>
                    <a:pt x="96" y="256"/>
                  </a:cubicBezTo>
                  <a:cubicBezTo>
                    <a:pt x="96" y="250"/>
                    <a:pt x="100" y="245"/>
                    <a:pt x="106" y="245"/>
                  </a:cubicBezTo>
                  <a:cubicBezTo>
                    <a:pt x="128" y="245"/>
                    <a:pt x="128" y="245"/>
                    <a:pt x="128" y="245"/>
                  </a:cubicBezTo>
                  <a:cubicBezTo>
                    <a:pt x="133" y="183"/>
                    <a:pt x="183" y="133"/>
                    <a:pt x="245" y="128"/>
                  </a:cubicBezTo>
                  <a:cubicBezTo>
                    <a:pt x="245" y="106"/>
                    <a:pt x="245" y="106"/>
                    <a:pt x="245" y="106"/>
                  </a:cubicBezTo>
                  <a:cubicBezTo>
                    <a:pt x="245" y="100"/>
                    <a:pt x="250" y="96"/>
                    <a:pt x="256" y="96"/>
                  </a:cubicBezTo>
                  <a:cubicBezTo>
                    <a:pt x="262" y="96"/>
                    <a:pt x="266" y="100"/>
                    <a:pt x="266" y="106"/>
                  </a:cubicBezTo>
                  <a:cubicBezTo>
                    <a:pt x="266" y="128"/>
                    <a:pt x="266" y="128"/>
                    <a:pt x="266" y="128"/>
                  </a:cubicBezTo>
                  <a:cubicBezTo>
                    <a:pt x="328" y="133"/>
                    <a:pt x="378" y="183"/>
                    <a:pt x="383" y="245"/>
                  </a:cubicBezTo>
                  <a:cubicBezTo>
                    <a:pt x="405" y="245"/>
                    <a:pt x="405" y="245"/>
                    <a:pt x="405" y="245"/>
                  </a:cubicBezTo>
                  <a:cubicBezTo>
                    <a:pt x="411" y="245"/>
                    <a:pt x="416" y="250"/>
                    <a:pt x="416" y="256"/>
                  </a:cubicBezTo>
                  <a:cubicBezTo>
                    <a:pt x="416" y="262"/>
                    <a:pt x="411" y="266"/>
                    <a:pt x="405" y="2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3" name="Freeform 445">
              <a:extLst>
                <a:ext uri="{FF2B5EF4-FFF2-40B4-BE49-F238E27FC236}">
                  <a16:creationId xmlns:a16="http://schemas.microsoft.com/office/drawing/2014/main" id="{E1EB0640-EC69-4259-82B2-D99B742CD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7" y="1661"/>
              <a:ext cx="63" cy="63"/>
            </a:xfrm>
            <a:custGeom>
              <a:avLst/>
              <a:gdLst>
                <a:gd name="T0" fmla="*/ 0 w 96"/>
                <a:gd name="T1" fmla="*/ 0 h 95"/>
                <a:gd name="T2" fmla="*/ 0 w 96"/>
                <a:gd name="T3" fmla="*/ 32 h 95"/>
                <a:gd name="T4" fmla="*/ 63 w 96"/>
                <a:gd name="T5" fmla="*/ 95 h 95"/>
                <a:gd name="T6" fmla="*/ 96 w 96"/>
                <a:gd name="T7" fmla="*/ 95 h 95"/>
                <a:gd name="T8" fmla="*/ 0 w 96"/>
                <a:gd name="T9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5">
                  <a:moveTo>
                    <a:pt x="0" y="0"/>
                  </a:moveTo>
                  <a:cubicBezTo>
                    <a:pt x="0" y="32"/>
                    <a:pt x="0" y="32"/>
                    <a:pt x="0" y="32"/>
                  </a:cubicBezTo>
                  <a:cubicBezTo>
                    <a:pt x="33" y="37"/>
                    <a:pt x="59" y="62"/>
                    <a:pt x="63" y="95"/>
                  </a:cubicBezTo>
                  <a:cubicBezTo>
                    <a:pt x="96" y="95"/>
                    <a:pt x="96" y="95"/>
                    <a:pt x="96" y="95"/>
                  </a:cubicBezTo>
                  <a:cubicBezTo>
                    <a:pt x="91" y="45"/>
                    <a:pt x="51" y="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  <p:sp>
          <p:nvSpPr>
            <p:cNvPr id="44" name="Freeform 446">
              <a:extLst>
                <a:ext uri="{FF2B5EF4-FFF2-40B4-BE49-F238E27FC236}">
                  <a16:creationId xmlns:a16="http://schemas.microsoft.com/office/drawing/2014/main" id="{4855D816-02C5-4FEF-B927-D1AD5A5552E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7" y="1738"/>
              <a:ext cx="63" cy="63"/>
            </a:xfrm>
            <a:custGeom>
              <a:avLst/>
              <a:gdLst>
                <a:gd name="T0" fmla="*/ 0 w 96"/>
                <a:gd name="T1" fmla="*/ 63 h 96"/>
                <a:gd name="T2" fmla="*/ 0 w 96"/>
                <a:gd name="T3" fmla="*/ 96 h 96"/>
                <a:gd name="T4" fmla="*/ 96 w 96"/>
                <a:gd name="T5" fmla="*/ 0 h 96"/>
                <a:gd name="T6" fmla="*/ 63 w 96"/>
                <a:gd name="T7" fmla="*/ 0 h 96"/>
                <a:gd name="T8" fmla="*/ 0 w 96"/>
                <a:gd name="T9" fmla="*/ 63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96">
                  <a:moveTo>
                    <a:pt x="0" y="63"/>
                  </a:moveTo>
                  <a:cubicBezTo>
                    <a:pt x="0" y="96"/>
                    <a:pt x="0" y="96"/>
                    <a:pt x="0" y="96"/>
                  </a:cubicBezTo>
                  <a:cubicBezTo>
                    <a:pt x="51" y="91"/>
                    <a:pt x="91" y="51"/>
                    <a:pt x="96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59" y="33"/>
                    <a:pt x="33" y="59"/>
                    <a:pt x="0" y="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:mc="http://schemas.openxmlformats.org/markup-compatibility/2006" xmlns:p14="http://schemas.microsoft.com/office/powerpoint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996"/>
            </a:p>
          </p:txBody>
        </p:sp>
      </p:grpSp>
      <p:grpSp>
        <p:nvGrpSpPr>
          <p:cNvPr id="45" name="Group 927">
            <a:extLst>
              <a:ext uri="{FF2B5EF4-FFF2-40B4-BE49-F238E27FC236}">
                <a16:creationId xmlns:a16="http://schemas.microsoft.com/office/drawing/2014/main" id="{E33FFBFB-F0F1-4CB9-A6B2-4A85527DEC0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2241" y="3504810"/>
            <a:ext cx="932983" cy="932983"/>
            <a:chOff x="5432" y="3568"/>
            <a:chExt cx="340" cy="340"/>
          </a:xfrm>
          <a:solidFill>
            <a:schemeClr val="bg1"/>
          </a:solidFill>
        </p:grpSpPr>
        <p:sp>
          <p:nvSpPr>
            <p:cNvPr id="46" name="Freeform 928">
              <a:extLst>
                <a:ext uri="{FF2B5EF4-FFF2-40B4-BE49-F238E27FC236}">
                  <a16:creationId xmlns:a16="http://schemas.microsoft.com/office/drawing/2014/main" id="{9B5A96BF-9FE2-42E2-A432-586FD780A5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2" y="3568"/>
              <a:ext cx="340" cy="340"/>
            </a:xfrm>
            <a:custGeom>
              <a:avLst/>
              <a:gdLst>
                <a:gd name="T0" fmla="*/ 332 w 512"/>
                <a:gd name="T1" fmla="*/ 245 h 512"/>
                <a:gd name="T2" fmla="*/ 340 w 512"/>
                <a:gd name="T3" fmla="*/ 305 h 512"/>
                <a:gd name="T4" fmla="*/ 256 w 512"/>
                <a:gd name="T5" fmla="*/ 341 h 512"/>
                <a:gd name="T6" fmla="*/ 171 w 512"/>
                <a:gd name="T7" fmla="*/ 306 h 512"/>
                <a:gd name="T8" fmla="*/ 179 w 512"/>
                <a:gd name="T9" fmla="*/ 245 h 512"/>
                <a:gd name="T10" fmla="*/ 251 w 512"/>
                <a:gd name="T11" fmla="*/ 276 h 512"/>
                <a:gd name="T12" fmla="*/ 256 w 512"/>
                <a:gd name="T13" fmla="*/ 277 h 512"/>
                <a:gd name="T14" fmla="*/ 260 w 512"/>
                <a:gd name="T15" fmla="*/ 276 h 512"/>
                <a:gd name="T16" fmla="*/ 332 w 512"/>
                <a:gd name="T17" fmla="*/ 245 h 512"/>
                <a:gd name="T18" fmla="*/ 136 w 512"/>
                <a:gd name="T19" fmla="*/ 203 h 512"/>
                <a:gd name="T20" fmla="*/ 256 w 512"/>
                <a:gd name="T21" fmla="*/ 255 h 512"/>
                <a:gd name="T22" fmla="*/ 376 w 512"/>
                <a:gd name="T23" fmla="*/ 203 h 512"/>
                <a:gd name="T24" fmla="*/ 256 w 512"/>
                <a:gd name="T25" fmla="*/ 160 h 512"/>
                <a:gd name="T26" fmla="*/ 136 w 512"/>
                <a:gd name="T27" fmla="*/ 203 h 512"/>
                <a:gd name="T28" fmla="*/ 512 w 512"/>
                <a:gd name="T29" fmla="*/ 256 h 512"/>
                <a:gd name="T30" fmla="*/ 256 w 512"/>
                <a:gd name="T31" fmla="*/ 512 h 512"/>
                <a:gd name="T32" fmla="*/ 0 w 512"/>
                <a:gd name="T33" fmla="*/ 256 h 512"/>
                <a:gd name="T34" fmla="*/ 256 w 512"/>
                <a:gd name="T35" fmla="*/ 0 h 512"/>
                <a:gd name="T36" fmla="*/ 512 w 512"/>
                <a:gd name="T37" fmla="*/ 256 h 512"/>
                <a:gd name="T38" fmla="*/ 416 w 512"/>
                <a:gd name="T39" fmla="*/ 202 h 512"/>
                <a:gd name="T40" fmla="*/ 409 w 512"/>
                <a:gd name="T41" fmla="*/ 192 h 512"/>
                <a:gd name="T42" fmla="*/ 259 w 512"/>
                <a:gd name="T43" fmla="*/ 139 h 512"/>
                <a:gd name="T44" fmla="*/ 252 w 512"/>
                <a:gd name="T45" fmla="*/ 139 h 512"/>
                <a:gd name="T46" fmla="*/ 103 w 512"/>
                <a:gd name="T47" fmla="*/ 192 h 512"/>
                <a:gd name="T48" fmla="*/ 96 w 512"/>
                <a:gd name="T49" fmla="*/ 202 h 512"/>
                <a:gd name="T50" fmla="*/ 102 w 512"/>
                <a:gd name="T51" fmla="*/ 212 h 512"/>
                <a:gd name="T52" fmla="*/ 159 w 512"/>
                <a:gd name="T53" fmla="*/ 236 h 512"/>
                <a:gd name="T54" fmla="*/ 149 w 512"/>
                <a:gd name="T55" fmla="*/ 308 h 512"/>
                <a:gd name="T56" fmla="*/ 150 w 512"/>
                <a:gd name="T57" fmla="*/ 314 h 512"/>
                <a:gd name="T58" fmla="*/ 256 w 512"/>
                <a:gd name="T59" fmla="*/ 362 h 512"/>
                <a:gd name="T60" fmla="*/ 360 w 512"/>
                <a:gd name="T61" fmla="*/ 316 h 512"/>
                <a:gd name="T62" fmla="*/ 362 w 512"/>
                <a:gd name="T63" fmla="*/ 308 h 512"/>
                <a:gd name="T64" fmla="*/ 353 w 512"/>
                <a:gd name="T65" fmla="*/ 236 h 512"/>
                <a:gd name="T66" fmla="*/ 384 w 512"/>
                <a:gd name="T67" fmla="*/ 223 h 512"/>
                <a:gd name="T68" fmla="*/ 384 w 512"/>
                <a:gd name="T69" fmla="*/ 352 h 512"/>
                <a:gd name="T70" fmla="*/ 394 w 512"/>
                <a:gd name="T71" fmla="*/ 362 h 512"/>
                <a:gd name="T72" fmla="*/ 405 w 512"/>
                <a:gd name="T73" fmla="*/ 352 h 512"/>
                <a:gd name="T74" fmla="*/ 405 w 512"/>
                <a:gd name="T75" fmla="*/ 214 h 512"/>
                <a:gd name="T76" fmla="*/ 409 w 512"/>
                <a:gd name="T77" fmla="*/ 212 h 512"/>
                <a:gd name="T78" fmla="*/ 416 w 512"/>
                <a:gd name="T79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332" y="245"/>
                  </a:moveTo>
                  <a:cubicBezTo>
                    <a:pt x="340" y="305"/>
                    <a:pt x="340" y="305"/>
                    <a:pt x="340" y="305"/>
                  </a:cubicBezTo>
                  <a:cubicBezTo>
                    <a:pt x="331" y="315"/>
                    <a:pt x="299" y="341"/>
                    <a:pt x="256" y="341"/>
                  </a:cubicBezTo>
                  <a:cubicBezTo>
                    <a:pt x="201" y="341"/>
                    <a:pt x="177" y="315"/>
                    <a:pt x="171" y="306"/>
                  </a:cubicBezTo>
                  <a:cubicBezTo>
                    <a:pt x="179" y="245"/>
                    <a:pt x="179" y="245"/>
                    <a:pt x="179" y="245"/>
                  </a:cubicBezTo>
                  <a:cubicBezTo>
                    <a:pt x="251" y="276"/>
                    <a:pt x="251" y="276"/>
                    <a:pt x="251" y="276"/>
                  </a:cubicBezTo>
                  <a:cubicBezTo>
                    <a:pt x="253" y="277"/>
                    <a:pt x="254" y="277"/>
                    <a:pt x="256" y="277"/>
                  </a:cubicBezTo>
                  <a:cubicBezTo>
                    <a:pt x="257" y="277"/>
                    <a:pt x="259" y="277"/>
                    <a:pt x="260" y="276"/>
                  </a:cubicBezTo>
                  <a:lnTo>
                    <a:pt x="332" y="245"/>
                  </a:lnTo>
                  <a:close/>
                  <a:moveTo>
                    <a:pt x="136" y="203"/>
                  </a:moveTo>
                  <a:cubicBezTo>
                    <a:pt x="256" y="255"/>
                    <a:pt x="256" y="255"/>
                    <a:pt x="256" y="255"/>
                  </a:cubicBezTo>
                  <a:cubicBezTo>
                    <a:pt x="376" y="203"/>
                    <a:pt x="376" y="203"/>
                    <a:pt x="376" y="203"/>
                  </a:cubicBezTo>
                  <a:cubicBezTo>
                    <a:pt x="256" y="160"/>
                    <a:pt x="256" y="160"/>
                    <a:pt x="256" y="160"/>
                  </a:cubicBezTo>
                  <a:lnTo>
                    <a:pt x="136" y="20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202"/>
                  </a:moveTo>
                  <a:cubicBezTo>
                    <a:pt x="416" y="198"/>
                    <a:pt x="413" y="194"/>
                    <a:pt x="409" y="192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7" y="138"/>
                    <a:pt x="254" y="138"/>
                    <a:pt x="252" y="139"/>
                  </a:cubicBezTo>
                  <a:cubicBezTo>
                    <a:pt x="103" y="192"/>
                    <a:pt x="103" y="192"/>
                    <a:pt x="103" y="192"/>
                  </a:cubicBezTo>
                  <a:cubicBezTo>
                    <a:pt x="99" y="194"/>
                    <a:pt x="96" y="198"/>
                    <a:pt x="96" y="202"/>
                  </a:cubicBezTo>
                  <a:cubicBezTo>
                    <a:pt x="96" y="206"/>
                    <a:pt x="98" y="210"/>
                    <a:pt x="102" y="212"/>
                  </a:cubicBezTo>
                  <a:cubicBezTo>
                    <a:pt x="159" y="236"/>
                    <a:pt x="159" y="236"/>
                    <a:pt x="159" y="236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9" y="310"/>
                    <a:pt x="149" y="312"/>
                    <a:pt x="150" y="314"/>
                  </a:cubicBezTo>
                  <a:cubicBezTo>
                    <a:pt x="152" y="316"/>
                    <a:pt x="179" y="362"/>
                    <a:pt x="256" y="362"/>
                  </a:cubicBezTo>
                  <a:cubicBezTo>
                    <a:pt x="319" y="362"/>
                    <a:pt x="358" y="318"/>
                    <a:pt x="360" y="316"/>
                  </a:cubicBezTo>
                  <a:cubicBezTo>
                    <a:pt x="362" y="314"/>
                    <a:pt x="363" y="311"/>
                    <a:pt x="362" y="308"/>
                  </a:cubicBezTo>
                  <a:cubicBezTo>
                    <a:pt x="353" y="236"/>
                    <a:pt x="353" y="236"/>
                    <a:pt x="353" y="236"/>
                  </a:cubicBezTo>
                  <a:cubicBezTo>
                    <a:pt x="384" y="223"/>
                    <a:pt x="384" y="223"/>
                    <a:pt x="384" y="223"/>
                  </a:cubicBezTo>
                  <a:cubicBezTo>
                    <a:pt x="384" y="352"/>
                    <a:pt x="384" y="352"/>
                    <a:pt x="384" y="352"/>
                  </a:cubicBezTo>
                  <a:cubicBezTo>
                    <a:pt x="384" y="358"/>
                    <a:pt x="388" y="362"/>
                    <a:pt x="394" y="362"/>
                  </a:cubicBezTo>
                  <a:cubicBezTo>
                    <a:pt x="400" y="362"/>
                    <a:pt x="405" y="358"/>
                    <a:pt x="405" y="352"/>
                  </a:cubicBezTo>
                  <a:cubicBezTo>
                    <a:pt x="405" y="214"/>
                    <a:pt x="405" y="214"/>
                    <a:pt x="405" y="214"/>
                  </a:cubicBezTo>
                  <a:cubicBezTo>
                    <a:pt x="409" y="212"/>
                    <a:pt x="409" y="212"/>
                    <a:pt x="409" y="212"/>
                  </a:cubicBezTo>
                  <a:cubicBezTo>
                    <a:pt x="413" y="210"/>
                    <a:pt x="416" y="206"/>
                    <a:pt x="416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  <p:sp>
          <p:nvSpPr>
            <p:cNvPr id="47" name="Freeform 929">
              <a:extLst>
                <a:ext uri="{FF2B5EF4-FFF2-40B4-BE49-F238E27FC236}">
                  <a16:creationId xmlns:a16="http://schemas.microsoft.com/office/drawing/2014/main" id="{C6D959CD-E6E8-47A2-A608-08D83B65040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432" y="3568"/>
              <a:ext cx="340" cy="340"/>
            </a:xfrm>
            <a:custGeom>
              <a:avLst/>
              <a:gdLst>
                <a:gd name="T0" fmla="*/ 332 w 512"/>
                <a:gd name="T1" fmla="*/ 245 h 512"/>
                <a:gd name="T2" fmla="*/ 340 w 512"/>
                <a:gd name="T3" fmla="*/ 305 h 512"/>
                <a:gd name="T4" fmla="*/ 256 w 512"/>
                <a:gd name="T5" fmla="*/ 341 h 512"/>
                <a:gd name="T6" fmla="*/ 171 w 512"/>
                <a:gd name="T7" fmla="*/ 306 h 512"/>
                <a:gd name="T8" fmla="*/ 179 w 512"/>
                <a:gd name="T9" fmla="*/ 245 h 512"/>
                <a:gd name="T10" fmla="*/ 251 w 512"/>
                <a:gd name="T11" fmla="*/ 276 h 512"/>
                <a:gd name="T12" fmla="*/ 256 w 512"/>
                <a:gd name="T13" fmla="*/ 277 h 512"/>
                <a:gd name="T14" fmla="*/ 260 w 512"/>
                <a:gd name="T15" fmla="*/ 276 h 512"/>
                <a:gd name="T16" fmla="*/ 332 w 512"/>
                <a:gd name="T17" fmla="*/ 245 h 512"/>
                <a:gd name="T18" fmla="*/ 136 w 512"/>
                <a:gd name="T19" fmla="*/ 203 h 512"/>
                <a:gd name="T20" fmla="*/ 256 w 512"/>
                <a:gd name="T21" fmla="*/ 255 h 512"/>
                <a:gd name="T22" fmla="*/ 376 w 512"/>
                <a:gd name="T23" fmla="*/ 203 h 512"/>
                <a:gd name="T24" fmla="*/ 256 w 512"/>
                <a:gd name="T25" fmla="*/ 160 h 512"/>
                <a:gd name="T26" fmla="*/ 136 w 512"/>
                <a:gd name="T27" fmla="*/ 203 h 512"/>
                <a:gd name="T28" fmla="*/ 512 w 512"/>
                <a:gd name="T29" fmla="*/ 256 h 512"/>
                <a:gd name="T30" fmla="*/ 256 w 512"/>
                <a:gd name="T31" fmla="*/ 512 h 512"/>
                <a:gd name="T32" fmla="*/ 0 w 512"/>
                <a:gd name="T33" fmla="*/ 256 h 512"/>
                <a:gd name="T34" fmla="*/ 256 w 512"/>
                <a:gd name="T35" fmla="*/ 0 h 512"/>
                <a:gd name="T36" fmla="*/ 512 w 512"/>
                <a:gd name="T37" fmla="*/ 256 h 512"/>
                <a:gd name="T38" fmla="*/ 416 w 512"/>
                <a:gd name="T39" fmla="*/ 202 h 512"/>
                <a:gd name="T40" fmla="*/ 409 w 512"/>
                <a:gd name="T41" fmla="*/ 192 h 512"/>
                <a:gd name="T42" fmla="*/ 259 w 512"/>
                <a:gd name="T43" fmla="*/ 139 h 512"/>
                <a:gd name="T44" fmla="*/ 252 w 512"/>
                <a:gd name="T45" fmla="*/ 139 h 512"/>
                <a:gd name="T46" fmla="*/ 103 w 512"/>
                <a:gd name="T47" fmla="*/ 192 h 512"/>
                <a:gd name="T48" fmla="*/ 96 w 512"/>
                <a:gd name="T49" fmla="*/ 202 h 512"/>
                <a:gd name="T50" fmla="*/ 102 w 512"/>
                <a:gd name="T51" fmla="*/ 212 h 512"/>
                <a:gd name="T52" fmla="*/ 159 w 512"/>
                <a:gd name="T53" fmla="*/ 236 h 512"/>
                <a:gd name="T54" fmla="*/ 149 w 512"/>
                <a:gd name="T55" fmla="*/ 308 h 512"/>
                <a:gd name="T56" fmla="*/ 150 w 512"/>
                <a:gd name="T57" fmla="*/ 314 h 512"/>
                <a:gd name="T58" fmla="*/ 256 w 512"/>
                <a:gd name="T59" fmla="*/ 362 h 512"/>
                <a:gd name="T60" fmla="*/ 360 w 512"/>
                <a:gd name="T61" fmla="*/ 316 h 512"/>
                <a:gd name="T62" fmla="*/ 362 w 512"/>
                <a:gd name="T63" fmla="*/ 308 h 512"/>
                <a:gd name="T64" fmla="*/ 353 w 512"/>
                <a:gd name="T65" fmla="*/ 236 h 512"/>
                <a:gd name="T66" fmla="*/ 384 w 512"/>
                <a:gd name="T67" fmla="*/ 223 h 512"/>
                <a:gd name="T68" fmla="*/ 384 w 512"/>
                <a:gd name="T69" fmla="*/ 352 h 512"/>
                <a:gd name="T70" fmla="*/ 394 w 512"/>
                <a:gd name="T71" fmla="*/ 362 h 512"/>
                <a:gd name="T72" fmla="*/ 405 w 512"/>
                <a:gd name="T73" fmla="*/ 352 h 512"/>
                <a:gd name="T74" fmla="*/ 405 w 512"/>
                <a:gd name="T75" fmla="*/ 214 h 512"/>
                <a:gd name="T76" fmla="*/ 409 w 512"/>
                <a:gd name="T77" fmla="*/ 212 h 512"/>
                <a:gd name="T78" fmla="*/ 416 w 512"/>
                <a:gd name="T79" fmla="*/ 202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12" h="512">
                  <a:moveTo>
                    <a:pt x="332" y="245"/>
                  </a:moveTo>
                  <a:cubicBezTo>
                    <a:pt x="340" y="305"/>
                    <a:pt x="340" y="305"/>
                    <a:pt x="340" y="305"/>
                  </a:cubicBezTo>
                  <a:cubicBezTo>
                    <a:pt x="331" y="315"/>
                    <a:pt x="299" y="341"/>
                    <a:pt x="256" y="341"/>
                  </a:cubicBezTo>
                  <a:cubicBezTo>
                    <a:pt x="201" y="341"/>
                    <a:pt x="177" y="315"/>
                    <a:pt x="171" y="306"/>
                  </a:cubicBezTo>
                  <a:cubicBezTo>
                    <a:pt x="179" y="245"/>
                    <a:pt x="179" y="245"/>
                    <a:pt x="179" y="245"/>
                  </a:cubicBezTo>
                  <a:cubicBezTo>
                    <a:pt x="251" y="276"/>
                    <a:pt x="251" y="276"/>
                    <a:pt x="251" y="276"/>
                  </a:cubicBezTo>
                  <a:cubicBezTo>
                    <a:pt x="253" y="277"/>
                    <a:pt x="254" y="277"/>
                    <a:pt x="256" y="277"/>
                  </a:cubicBezTo>
                  <a:cubicBezTo>
                    <a:pt x="257" y="277"/>
                    <a:pt x="259" y="277"/>
                    <a:pt x="260" y="276"/>
                  </a:cubicBezTo>
                  <a:lnTo>
                    <a:pt x="332" y="245"/>
                  </a:lnTo>
                  <a:close/>
                  <a:moveTo>
                    <a:pt x="136" y="203"/>
                  </a:moveTo>
                  <a:cubicBezTo>
                    <a:pt x="256" y="255"/>
                    <a:pt x="256" y="255"/>
                    <a:pt x="256" y="255"/>
                  </a:cubicBezTo>
                  <a:cubicBezTo>
                    <a:pt x="376" y="203"/>
                    <a:pt x="376" y="203"/>
                    <a:pt x="376" y="203"/>
                  </a:cubicBezTo>
                  <a:cubicBezTo>
                    <a:pt x="256" y="160"/>
                    <a:pt x="256" y="160"/>
                    <a:pt x="256" y="160"/>
                  </a:cubicBezTo>
                  <a:lnTo>
                    <a:pt x="136" y="203"/>
                  </a:lnTo>
                  <a:close/>
                  <a:moveTo>
                    <a:pt x="512" y="256"/>
                  </a:moveTo>
                  <a:cubicBezTo>
                    <a:pt x="512" y="397"/>
                    <a:pt x="397" y="512"/>
                    <a:pt x="256" y="512"/>
                  </a:cubicBezTo>
                  <a:cubicBezTo>
                    <a:pt x="114" y="512"/>
                    <a:pt x="0" y="397"/>
                    <a:pt x="0" y="256"/>
                  </a:cubicBezTo>
                  <a:cubicBezTo>
                    <a:pt x="0" y="114"/>
                    <a:pt x="114" y="0"/>
                    <a:pt x="256" y="0"/>
                  </a:cubicBezTo>
                  <a:cubicBezTo>
                    <a:pt x="397" y="0"/>
                    <a:pt x="512" y="114"/>
                    <a:pt x="512" y="256"/>
                  </a:cubicBezTo>
                  <a:close/>
                  <a:moveTo>
                    <a:pt x="416" y="202"/>
                  </a:moveTo>
                  <a:cubicBezTo>
                    <a:pt x="416" y="198"/>
                    <a:pt x="413" y="194"/>
                    <a:pt x="409" y="192"/>
                  </a:cubicBezTo>
                  <a:cubicBezTo>
                    <a:pt x="259" y="139"/>
                    <a:pt x="259" y="139"/>
                    <a:pt x="259" y="139"/>
                  </a:cubicBezTo>
                  <a:cubicBezTo>
                    <a:pt x="257" y="138"/>
                    <a:pt x="254" y="138"/>
                    <a:pt x="252" y="139"/>
                  </a:cubicBezTo>
                  <a:cubicBezTo>
                    <a:pt x="103" y="192"/>
                    <a:pt x="103" y="192"/>
                    <a:pt x="103" y="192"/>
                  </a:cubicBezTo>
                  <a:cubicBezTo>
                    <a:pt x="99" y="194"/>
                    <a:pt x="96" y="198"/>
                    <a:pt x="96" y="202"/>
                  </a:cubicBezTo>
                  <a:cubicBezTo>
                    <a:pt x="96" y="206"/>
                    <a:pt x="98" y="210"/>
                    <a:pt x="102" y="212"/>
                  </a:cubicBezTo>
                  <a:cubicBezTo>
                    <a:pt x="159" y="236"/>
                    <a:pt x="159" y="236"/>
                    <a:pt x="159" y="236"/>
                  </a:cubicBezTo>
                  <a:cubicBezTo>
                    <a:pt x="149" y="308"/>
                    <a:pt x="149" y="308"/>
                    <a:pt x="149" y="308"/>
                  </a:cubicBezTo>
                  <a:cubicBezTo>
                    <a:pt x="149" y="310"/>
                    <a:pt x="149" y="312"/>
                    <a:pt x="150" y="314"/>
                  </a:cubicBezTo>
                  <a:cubicBezTo>
                    <a:pt x="152" y="316"/>
                    <a:pt x="179" y="362"/>
                    <a:pt x="256" y="362"/>
                  </a:cubicBezTo>
                  <a:cubicBezTo>
                    <a:pt x="319" y="362"/>
                    <a:pt x="358" y="318"/>
                    <a:pt x="360" y="316"/>
                  </a:cubicBezTo>
                  <a:cubicBezTo>
                    <a:pt x="362" y="314"/>
                    <a:pt x="363" y="311"/>
                    <a:pt x="362" y="308"/>
                  </a:cubicBezTo>
                  <a:cubicBezTo>
                    <a:pt x="353" y="236"/>
                    <a:pt x="353" y="236"/>
                    <a:pt x="353" y="236"/>
                  </a:cubicBezTo>
                  <a:cubicBezTo>
                    <a:pt x="384" y="223"/>
                    <a:pt x="384" y="223"/>
                    <a:pt x="384" y="223"/>
                  </a:cubicBezTo>
                  <a:cubicBezTo>
                    <a:pt x="384" y="352"/>
                    <a:pt x="384" y="352"/>
                    <a:pt x="384" y="352"/>
                  </a:cubicBezTo>
                  <a:cubicBezTo>
                    <a:pt x="384" y="358"/>
                    <a:pt x="388" y="362"/>
                    <a:pt x="394" y="362"/>
                  </a:cubicBezTo>
                  <a:cubicBezTo>
                    <a:pt x="400" y="362"/>
                    <a:pt x="405" y="358"/>
                    <a:pt x="405" y="352"/>
                  </a:cubicBezTo>
                  <a:cubicBezTo>
                    <a:pt x="405" y="214"/>
                    <a:pt x="405" y="214"/>
                    <a:pt x="405" y="214"/>
                  </a:cubicBezTo>
                  <a:cubicBezTo>
                    <a:pt x="409" y="212"/>
                    <a:pt x="409" y="212"/>
                    <a:pt x="409" y="212"/>
                  </a:cubicBezTo>
                  <a:cubicBezTo>
                    <a:pt x="413" y="210"/>
                    <a:pt x="416" y="206"/>
                    <a:pt x="416" y="20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p14="http://schemas.microsoft.com/office/powerpoint/2010/main" xmlns:mc="http://schemas.openxmlformats.org/markup-compatibility/2006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446" tIns="60723" rIns="121446" bIns="60723" numCol="1" anchor="t" anchorCtr="0" compatLnSpc="1">
              <a:prstTxWarp prst="textNoShape">
                <a:avLst/>
              </a:prstTxWarp>
            </a:bodyPr>
            <a:lstStyle/>
            <a:p>
              <a:endParaRPr lang="en-GB" sz="319"/>
            </a:p>
          </p:txBody>
        </p:sp>
      </p:grpSp>
    </p:spTree>
    <p:extLst>
      <p:ext uri="{BB962C8B-B14F-4D97-AF65-F5344CB8AC3E}">
        <p14:creationId xmlns:p14="http://schemas.microsoft.com/office/powerpoint/2010/main" val="75895670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lkommen!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484447" y="1921802"/>
            <a:ext cx="3580704" cy="2682997"/>
            <a:chOff x="317191" y="1620719"/>
            <a:chExt cx="3580704" cy="2682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923330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skal dele mye informasjon med dere i dag. Presentasjon blir lagt ut i etterkant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8239603" y="1921801"/>
            <a:ext cx="3580704" cy="3236995"/>
            <a:chOff x="8406858" y="1620719"/>
            <a:chExt cx="3580704" cy="3236995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6"/>
              <a:ext cx="3580704" cy="147732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til gjøre opptak for å tilgjengeliggjøre den for alle i etterkant. Om du ikke vil være med på opptaket, må du skru av kameraet.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4362025" y="1921801"/>
            <a:ext cx="3580704" cy="2682995"/>
            <a:chOff x="4362024" y="1620719"/>
            <a:chExt cx="3580704" cy="2682996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/>
                <a:t>Vi er mange deltagere – husk å dempe mikrofonen. Sett gjerne inn fullt navn i Zoom.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484447" y="1292342"/>
            <a:ext cx="3871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266339"/>
              </p:ext>
            </p:extLst>
          </p:nvPr>
        </p:nvGraphicFramePr>
        <p:xfrm>
          <a:off x="401849" y="1211668"/>
          <a:ext cx="5694151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694151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Prosess for tilbakemeldinger og forankring av 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EB01B40-0F35-4A65-9582-E1D495C165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29602" y="472271"/>
            <a:ext cx="4916218" cy="591345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5455253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>
            <a:extLst>
              <a:ext uri="{FF2B5EF4-FFF2-40B4-BE49-F238E27FC236}">
                <a16:creationId xmlns:a16="http://schemas.microsoft.com/office/drawing/2014/main" id="{D1FE3844-6F06-4720-B7E0-C8A8CBD796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0" name="Object 59" hidden="1">
                        <a:extLst>
                          <a:ext uri="{FF2B5EF4-FFF2-40B4-BE49-F238E27FC236}">
                            <a16:creationId xmlns:a16="http://schemas.microsoft.com/office/drawing/2014/main" id="{D1FE3844-6F06-4720-B7E0-C8A8CBD79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B25AD72-CA4A-47ED-8551-52BB99ACFC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5B23778-4AFC-4C3D-8E82-897144E39137}"/>
              </a:ext>
            </a:extLst>
          </p:cNvPr>
          <p:cNvGrpSpPr/>
          <p:nvPr/>
        </p:nvGrpSpPr>
        <p:grpSpPr>
          <a:xfrm>
            <a:off x="7328130" y="3229074"/>
            <a:ext cx="1334520" cy="2124360"/>
            <a:chOff x="7328130" y="3229074"/>
            <a:chExt cx="1334520" cy="2124360"/>
          </a:xfrm>
        </p:grpSpPr>
        <mc:AlternateContent xmlns:mc="http://schemas.openxmlformats.org/markup-compatibility/2006" xmlns:p14="http://schemas.microsoft.com/office/powerpoint/2010/main">
          <mc:Choice Requires="p14">
            <p:contentPart p14:bwMode="auto" r:id="rId8">
              <p14:nvContentPartPr>
                <p14:cNvPr id="43" name="Ink 42">
                  <a:extLst>
                    <a:ext uri="{FF2B5EF4-FFF2-40B4-BE49-F238E27FC236}">
                      <a16:creationId xmlns:a16="http://schemas.microsoft.com/office/drawing/2014/main" id="{B478D950-3A0B-420C-BC1A-33F4E73C620A}"/>
                    </a:ext>
                  </a:extLst>
                </p14:cNvPr>
                <p14:cNvContentPartPr/>
                <p14:nvPr/>
              </p14:nvContentPartPr>
              <p14:xfrm>
                <a:off x="7509930" y="3229074"/>
                <a:ext cx="1152720" cy="2010240"/>
              </p14:xfrm>
            </p:contentPart>
          </mc:Choice>
          <mc:Fallback xmlns="">
            <p:pic>
              <p:nvPicPr>
                <p:cNvPr id="43" name="Ink 42">
                  <a:extLst>
                    <a:ext uri="{FF2B5EF4-FFF2-40B4-BE49-F238E27FC236}">
                      <a16:creationId xmlns:a16="http://schemas.microsoft.com/office/drawing/2014/main" id="{B478D950-3A0B-420C-BC1A-33F4E73C620A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491930" y="3211074"/>
                  <a:ext cx="1188360" cy="204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>
          <mc:Choice Requires="p14">
            <p:contentPart p14:bwMode="auto" r:id="rId10">
              <p14:nvContentPartPr>
                <p14:cNvPr id="45" name="Ink 44">
                  <a:extLst>
                    <a:ext uri="{FF2B5EF4-FFF2-40B4-BE49-F238E27FC236}">
                      <a16:creationId xmlns:a16="http://schemas.microsoft.com/office/drawing/2014/main" id="{BE971B39-AEAE-43F9-A000-C27E9094C1E7}"/>
                    </a:ext>
                  </a:extLst>
                </p14:cNvPr>
                <p14:cNvContentPartPr/>
                <p14:nvPr/>
              </p14:nvContentPartPr>
              <p14:xfrm>
                <a:off x="7328130" y="4969674"/>
                <a:ext cx="345960" cy="383760"/>
              </p14:xfrm>
            </p:contentPart>
          </mc:Choice>
          <mc:Fallback xmlns="">
            <p:pic>
              <p:nvPicPr>
                <p:cNvPr id="45" name="Ink 44">
                  <a:extLst>
                    <a:ext uri="{FF2B5EF4-FFF2-40B4-BE49-F238E27FC236}">
                      <a16:creationId xmlns:a16="http://schemas.microsoft.com/office/drawing/2014/main" id="{BE971B39-AEAE-43F9-A000-C27E9094C1E7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7310130" y="4951674"/>
                  <a:ext cx="381600" cy="4194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33" name="Oval 32">
            <a:extLst>
              <a:ext uri="{FF2B5EF4-FFF2-40B4-BE49-F238E27FC236}">
                <a16:creationId xmlns:a16="http://schemas.microsoft.com/office/drawing/2014/main" id="{AF711182-2699-4CD4-BEFA-0EEC78EA8937}"/>
              </a:ext>
            </a:extLst>
          </p:cNvPr>
          <p:cNvSpPr/>
          <p:nvPr/>
        </p:nvSpPr>
        <p:spPr>
          <a:xfrm>
            <a:off x="8221199" y="3720821"/>
            <a:ext cx="743678" cy="743678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B1DE5F2D-F349-4D9E-85E2-7BA18D5978F3}"/>
              </a:ext>
            </a:extLst>
          </p:cNvPr>
          <p:cNvSpPr/>
          <p:nvPr/>
        </p:nvSpPr>
        <p:spPr>
          <a:xfrm>
            <a:off x="5562383" y="5394083"/>
            <a:ext cx="5534110" cy="128716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solidFill>
              <a:schemeClr val="tx1"/>
            </a:solidFill>
            <a:prstDash val="dash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4" name="Title 73">
            <a:extLst>
              <a:ext uri="{FF2B5EF4-FFF2-40B4-BE49-F238E27FC236}">
                <a16:creationId xmlns:a16="http://schemas.microsoft.com/office/drawing/2014/main" id="{EC59EA4B-F9DE-4B6C-8421-DF8799887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1" y="85418"/>
            <a:ext cx="10972800" cy="646331"/>
          </a:xfrm>
        </p:spPr>
        <p:txBody>
          <a:bodyPr/>
          <a:lstStyle/>
          <a:p>
            <a:r>
              <a:rPr lang="nb-NO" sz="1800" b="0"/>
              <a:t>Prosess for tilbakemeldinger og forankring av forslag</a:t>
            </a:r>
            <a:br>
              <a:rPr lang="nb-NO" sz="1800"/>
            </a:br>
            <a:r>
              <a:rPr lang="nb-NO" sz="1800"/>
              <a:t>Lønn og lønnsnær HR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0A0AF7BB-2332-4C8C-B397-FEACBB635983}"/>
              </a:ext>
            </a:extLst>
          </p:cNvPr>
          <p:cNvSpPr/>
          <p:nvPr/>
        </p:nvSpPr>
        <p:spPr>
          <a:xfrm>
            <a:off x="10634013" y="34924"/>
            <a:ext cx="1531316" cy="24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33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rsj</a:t>
            </a:r>
            <a:r>
              <a:rPr kumimoji="0" lang="nb-NO" sz="93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dato: 08.03.2021 </a:t>
            </a:r>
          </a:p>
        </p:txBody>
      </p:sp>
      <p:sp>
        <p:nvSpPr>
          <p:cNvPr id="528" name="Isosceles Triangle 527">
            <a:extLst>
              <a:ext uri="{FF2B5EF4-FFF2-40B4-BE49-F238E27FC236}">
                <a16:creationId xmlns:a16="http://schemas.microsoft.com/office/drawing/2014/main" id="{303579D1-6E85-48AF-BC45-8418AE9BC778}"/>
              </a:ext>
            </a:extLst>
          </p:cNvPr>
          <p:cNvSpPr/>
          <p:nvPr/>
        </p:nvSpPr>
        <p:spPr>
          <a:xfrm>
            <a:off x="10064615" y="370652"/>
            <a:ext cx="180000" cy="180000"/>
          </a:xfrm>
          <a:prstGeom prst="triangle">
            <a:avLst/>
          </a:prstGeom>
          <a:solidFill>
            <a:srgbClr val="FFC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71AC14BA-6DBE-4619-A37D-CDCCAE5B39FF}"/>
              </a:ext>
            </a:extLst>
          </p:cNvPr>
          <p:cNvSpPr txBox="1"/>
          <p:nvPr/>
        </p:nvSpPr>
        <p:spPr>
          <a:xfrm>
            <a:off x="10209532" y="341636"/>
            <a:ext cx="10604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ister</a:t>
            </a:r>
          </a:p>
        </p:txBody>
      </p:sp>
      <p:sp>
        <p:nvSpPr>
          <p:cNvPr id="530" name="Flowchart: Decision 529">
            <a:extLst>
              <a:ext uri="{FF2B5EF4-FFF2-40B4-BE49-F238E27FC236}">
                <a16:creationId xmlns:a16="http://schemas.microsoft.com/office/drawing/2014/main" id="{E5C7644E-4509-4D32-A68C-A508846FA618}"/>
              </a:ext>
            </a:extLst>
          </p:cNvPr>
          <p:cNvSpPr/>
          <p:nvPr/>
        </p:nvSpPr>
        <p:spPr>
          <a:xfrm>
            <a:off x="10718508" y="366714"/>
            <a:ext cx="180000" cy="180000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AA4F6DE4-C2B6-4FAD-88F4-2475759EC2DE}"/>
              </a:ext>
            </a:extLst>
          </p:cNvPr>
          <p:cNvSpPr txBox="1"/>
          <p:nvPr/>
        </p:nvSpPr>
        <p:spPr>
          <a:xfrm>
            <a:off x="10863425" y="337698"/>
            <a:ext cx="10604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slutning</a:t>
            </a:r>
          </a:p>
        </p:txBody>
      </p:sp>
      <p:sp>
        <p:nvSpPr>
          <p:cNvPr id="532" name="Oval 531">
            <a:extLst>
              <a:ext uri="{FF2B5EF4-FFF2-40B4-BE49-F238E27FC236}">
                <a16:creationId xmlns:a16="http://schemas.microsoft.com/office/drawing/2014/main" id="{E0E95345-C6C5-452E-91FF-31AA1E4C4673}"/>
              </a:ext>
            </a:extLst>
          </p:cNvPr>
          <p:cNvSpPr/>
          <p:nvPr/>
        </p:nvSpPr>
        <p:spPr>
          <a:xfrm>
            <a:off x="11596240" y="363344"/>
            <a:ext cx="180000" cy="180000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D7422C21-F177-4F17-9600-8F855E618DD9}"/>
              </a:ext>
            </a:extLst>
          </p:cNvPr>
          <p:cNvSpPr txBox="1"/>
          <p:nvPr/>
        </p:nvSpPr>
        <p:spPr>
          <a:xfrm>
            <a:off x="11741157" y="334328"/>
            <a:ext cx="10604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ø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1ACC86-6FAE-4D0B-A9E1-5EAAB3170ACF}"/>
              </a:ext>
            </a:extLst>
          </p:cNvPr>
          <p:cNvSpPr txBox="1"/>
          <p:nvPr/>
        </p:nvSpPr>
        <p:spPr>
          <a:xfrm>
            <a:off x="222191" y="1156787"/>
            <a:ext cx="22133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formasjonsdeling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A94AEA53-314F-473A-8B47-6BCA306C35FB}"/>
              </a:ext>
            </a:extLst>
          </p:cNvPr>
          <p:cNvSpPr txBox="1"/>
          <p:nvPr/>
        </p:nvSpPr>
        <p:spPr>
          <a:xfrm>
            <a:off x="222191" y="2982724"/>
            <a:ext cx="22133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sess på </a:t>
            </a:r>
            <a:br>
              <a:rPr kumimoji="0" lang="nb-NO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ver enhet</a:t>
            </a: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5071A7C-5C5C-4692-BD59-0C1804EE2D4A}"/>
              </a:ext>
            </a:extLst>
          </p:cNvPr>
          <p:cNvSpPr txBox="1"/>
          <p:nvPr/>
        </p:nvSpPr>
        <p:spPr>
          <a:xfrm>
            <a:off x="222191" y="5138266"/>
            <a:ext cx="22133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ormell behandling</a:t>
            </a:r>
            <a:br>
              <a:rPr kumimoji="0" lang="nb-NO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å nivå 1</a:t>
            </a:r>
            <a:endParaRPr kumimoji="0" lang="nb-NO" sz="14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4D100A-4A0A-4DA2-963A-1BEF2E158A27}"/>
              </a:ext>
            </a:extLst>
          </p:cNvPr>
          <p:cNvSpPr txBox="1"/>
          <p:nvPr/>
        </p:nvSpPr>
        <p:spPr>
          <a:xfrm>
            <a:off x="1818584" y="1584332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EF115C2-F217-44CF-82EA-5C9B047F798E}" type="datetime'0''''''''''''''''''''''9.''''0''''''''''''''''3''''''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9.03</a:t>
            </a:fld>
            <a:br>
              <a:rPr kumimoji="0" lang="nb-NO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</a:b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Presentasjon for </a:t>
            </a:r>
            <a:b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</a:b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innføringsled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750D146-AA4E-4066-BDFB-F882A3EA97A7}"/>
              </a:ext>
            </a:extLst>
          </p:cNvPr>
          <p:cNvGrpSpPr/>
          <p:nvPr/>
        </p:nvGrpSpPr>
        <p:grpSpPr>
          <a:xfrm>
            <a:off x="3221137" y="981804"/>
            <a:ext cx="2610068" cy="555480"/>
            <a:chOff x="3744252" y="981804"/>
            <a:chExt cx="6143400" cy="555480"/>
          </a:xfrm>
        </p:grpSpPr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2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C2C69F96-95EB-439E-B47A-E62077017949}"/>
                    </a:ext>
                  </a:extLst>
                </p14:cNvPr>
                <p14:cNvContentPartPr/>
                <p14:nvPr/>
              </p14:nvContentPartPr>
              <p14:xfrm>
                <a:off x="3744252" y="981804"/>
                <a:ext cx="5948640" cy="555480"/>
              </p14:xfrm>
            </p:contentPart>
          </mc:Choice>
          <mc:Fallback xmlns=""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C2C69F96-95EB-439E-B47A-E62077017949}"/>
                    </a:ext>
                  </a:extLst>
                </p:cNvPr>
                <p:cNvPicPr/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3658678" y="945420"/>
                  <a:ext cx="6119787" cy="628247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4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02659C38-1AC3-41AC-8553-651049166F6D}"/>
                    </a:ext>
                  </a:extLst>
                </p14:cNvPr>
                <p14:cNvContentPartPr/>
                <p14:nvPr/>
              </p14:nvContentPartPr>
              <p14:xfrm>
                <a:off x="9559332" y="1210404"/>
                <a:ext cx="328320" cy="254160"/>
              </p14:xfrm>
            </p:contentPart>
          </mc:Choice>
          <mc:Fallback xmlns=""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02659C38-1AC3-41AC-8553-651049166F6D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9517023" y="1102251"/>
                  <a:ext cx="412092" cy="470106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92BA65E-6B64-41A6-9F52-8FE3A01E5472}"/>
              </a:ext>
            </a:extLst>
          </p:cNvPr>
          <p:cNvGrpSpPr/>
          <p:nvPr/>
        </p:nvGrpSpPr>
        <p:grpSpPr>
          <a:xfrm>
            <a:off x="2335776" y="867670"/>
            <a:ext cx="657685" cy="657685"/>
            <a:chOff x="4583320" y="867670"/>
            <a:chExt cx="657685" cy="657685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04A0825-B6CF-4E5C-887F-AB0A313C4667}"/>
                </a:ext>
              </a:extLst>
            </p:cNvPr>
            <p:cNvSpPr/>
            <p:nvPr/>
          </p:nvSpPr>
          <p:spPr>
            <a:xfrm>
              <a:off x="4583320" y="867670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11" name="Graphic 10" descr="Teacher">
              <a:extLst>
                <a:ext uri="{FF2B5EF4-FFF2-40B4-BE49-F238E27FC236}">
                  <a16:creationId xmlns:a16="http://schemas.microsoft.com/office/drawing/2014/main" id="{CA19850E-C9AF-4565-8EDE-D3851C6610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4618132" y="902483"/>
              <a:ext cx="588058" cy="588058"/>
            </a:xfrm>
            <a:prstGeom prst="rect">
              <a:avLst/>
            </a:prstGeom>
          </p:spPr>
        </p:pic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18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B00453BD-C73D-45DC-B952-B807C9D00D0B}"/>
                    </a:ext>
                  </a:extLst>
                </p14:cNvPr>
                <p14:cNvContentPartPr/>
                <p14:nvPr/>
              </p14:nvContentPartPr>
              <p14:xfrm>
                <a:off x="4880622" y="1085124"/>
                <a:ext cx="360" cy="360"/>
              </p14:xfrm>
            </p:contentPart>
          </mc:Choice>
          <mc:Fallback xmlns=""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B00453BD-C73D-45DC-B952-B807C9D00D0B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4862622" y="977124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0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FF9D00D5-620E-4BBC-8B64-BEC5D517EA78}"/>
                    </a:ext>
                  </a:extLst>
                </p14:cNvPr>
                <p14:cNvContentPartPr/>
                <p14:nvPr/>
              </p14:nvContentPartPr>
              <p14:xfrm>
                <a:off x="4871982" y="922764"/>
                <a:ext cx="360" cy="360"/>
              </p14:xfrm>
            </p:contentPart>
          </mc:Choice>
          <mc:Fallback xmlns=""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FF9D00D5-620E-4BBC-8B64-BEC5D517EA78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4853982" y="814764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233" name="TextBox 232">
            <a:extLst>
              <a:ext uri="{FF2B5EF4-FFF2-40B4-BE49-F238E27FC236}">
                <a16:creationId xmlns:a16="http://schemas.microsoft.com/office/drawing/2014/main" id="{E6AF9E3A-F7E8-4114-866F-CDE2E9160E5C}"/>
              </a:ext>
            </a:extLst>
          </p:cNvPr>
          <p:cNvSpPr txBox="1"/>
          <p:nvPr/>
        </p:nvSpPr>
        <p:spPr>
          <a:xfrm>
            <a:off x="5520352" y="1584332"/>
            <a:ext cx="1692067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E89B1DB-C8FF-42AE-AA01-971499BD9A24}" type="datetime'''''''''''''''''''1''''''''8''''''''''.''''''0''''''3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8.03</a:t>
            </a:fld>
            <a:b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</a:b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+mn-lt"/>
              </a:rPr>
              <a:t>Allmøte/infomø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+mn-lt"/>
              </a:rPr>
              <a:t> for alle</a:t>
            </a:r>
            <a:b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</a:b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+mn-lt"/>
              </a:rPr>
              <a:t>relevante aktører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+mn-l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6118B18-9F01-440F-B799-455C07D8AA87}"/>
              </a:ext>
            </a:extLst>
          </p:cNvPr>
          <p:cNvGrpSpPr/>
          <p:nvPr/>
        </p:nvGrpSpPr>
        <p:grpSpPr>
          <a:xfrm>
            <a:off x="6037544" y="867670"/>
            <a:ext cx="657685" cy="657685"/>
            <a:chOff x="8741171" y="905839"/>
            <a:chExt cx="657685" cy="657685"/>
          </a:xfrm>
        </p:grpSpPr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097ABBC8-7175-4EF3-8131-F048FECBA699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234" name="Graphic 233" descr="Teacher">
              <a:extLst>
                <a:ext uri="{FF2B5EF4-FFF2-40B4-BE49-F238E27FC236}">
                  <a16:creationId xmlns:a16="http://schemas.microsoft.com/office/drawing/2014/main" id="{2212F159-57FE-41A6-86AA-CAC51B160D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8775983" y="940652"/>
              <a:ext cx="588058" cy="588058"/>
            </a:xfrm>
            <a:prstGeom prst="rect">
              <a:avLst/>
            </a:prstGeom>
          </p:spPr>
        </p:pic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2">
              <p14:nvContentPartPr>
                <p14:cNvPr id="235" name="Ink 234">
                  <a:extLst>
                    <a:ext uri="{FF2B5EF4-FFF2-40B4-BE49-F238E27FC236}">
                      <a16:creationId xmlns:a16="http://schemas.microsoft.com/office/drawing/2014/main" id="{BCBA0F63-C1F0-444D-B6EA-F438AD41A66F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 xmlns="">
            <p:pic>
              <p:nvPicPr>
                <p:cNvPr id="235" name="Ink 234">
                  <a:extLst>
                    <a:ext uri="{FF2B5EF4-FFF2-40B4-BE49-F238E27FC236}">
                      <a16:creationId xmlns:a16="http://schemas.microsoft.com/office/drawing/2014/main" id="{BCBA0F63-C1F0-444D-B6EA-F438AD41A66F}"/>
                    </a:ext>
                  </a:extLst>
                </p:cNvPr>
                <p:cNvPicPr/>
                <p:nvPr/>
              </p:nvPicPr>
              <p:blipFill>
                <a:blip r:embed="rId23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24">
              <p14:nvContentPartPr>
                <p14:cNvPr id="236" name="Ink 235">
                  <a:extLst>
                    <a:ext uri="{FF2B5EF4-FFF2-40B4-BE49-F238E27FC236}">
                      <a16:creationId xmlns:a16="http://schemas.microsoft.com/office/drawing/2014/main" id="{27B1AF7A-43C5-4211-BE6A-77A5DB021E04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 xmlns="">
            <p:pic>
              <p:nvPicPr>
                <p:cNvPr id="236" name="Ink 235">
                  <a:extLst>
                    <a:ext uri="{FF2B5EF4-FFF2-40B4-BE49-F238E27FC236}">
                      <a16:creationId xmlns:a16="http://schemas.microsoft.com/office/drawing/2014/main" id="{27B1AF7A-43C5-4211-BE6A-77A5DB021E04}"/>
                    </a:ext>
                  </a:extLst>
                </p:cNvPr>
                <p:cNvPicPr/>
                <p:nvPr/>
              </p:nvPicPr>
              <p:blipFill>
                <a:blip r:embed="rId25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90783CF-1483-49B0-9323-0884F889BB4D}"/>
              </a:ext>
            </a:extLst>
          </p:cNvPr>
          <p:cNvSpPr txBox="1"/>
          <p:nvPr/>
        </p:nvSpPr>
        <p:spPr>
          <a:xfrm>
            <a:off x="3267559" y="1622501"/>
            <a:ext cx="281156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formasjonsdeling på hver enhet </a:t>
            </a:r>
            <a:br>
              <a:rPr kumimoji="0" lang="nb-NO" sz="11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1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lpasset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366B66-BCE3-4FA4-BC1B-350F9D989633}"/>
              </a:ext>
            </a:extLst>
          </p:cNvPr>
          <p:cNvSpPr/>
          <p:nvPr/>
        </p:nvSpPr>
        <p:spPr>
          <a:xfrm>
            <a:off x="2624437" y="3216140"/>
            <a:ext cx="5220000" cy="12871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4A9C7F68-FB13-4CA7-A0B9-000627F06EA7}"/>
              </a:ext>
            </a:extLst>
          </p:cNvPr>
          <p:cNvSpPr txBox="1"/>
          <p:nvPr/>
        </p:nvSpPr>
        <p:spPr>
          <a:xfrm>
            <a:off x="6720840" y="3590050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D33DB10-58D9-4229-9C6D-693173759836}" type="datetime'''''''''''''''''''''24''''.''''''0''3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.03</a:t>
            </a:fld>
            <a:b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</a:b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Frist for</a:t>
            </a:r>
            <a:b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</a:b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Innspill og GAP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239" name="Oval 238">
            <a:extLst>
              <a:ext uri="{FF2B5EF4-FFF2-40B4-BE49-F238E27FC236}">
                <a16:creationId xmlns:a16="http://schemas.microsoft.com/office/drawing/2014/main" id="{AF342B96-C718-436B-9E18-8DCD75315036}"/>
              </a:ext>
            </a:extLst>
          </p:cNvPr>
          <p:cNvSpPr/>
          <p:nvPr/>
        </p:nvSpPr>
        <p:spPr>
          <a:xfrm>
            <a:off x="7269572" y="2951655"/>
            <a:ext cx="657685" cy="65768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6">
            <p14:nvContentPartPr>
              <p14:cNvPr id="241" name="Ink 240">
                <a:extLst>
                  <a:ext uri="{FF2B5EF4-FFF2-40B4-BE49-F238E27FC236}">
                    <a16:creationId xmlns:a16="http://schemas.microsoft.com/office/drawing/2014/main" id="{B026F0BF-9373-40FE-8748-9AF74F2DE310}"/>
                  </a:ext>
                </a:extLst>
              </p14:cNvPr>
              <p14:cNvContentPartPr/>
              <p14:nvPr/>
            </p14:nvContentPartPr>
            <p14:xfrm>
              <a:off x="7566874" y="3169109"/>
              <a:ext cx="360" cy="360"/>
            </p14:xfrm>
          </p:contentPart>
        </mc:Choice>
        <mc:Fallback xmlns="">
          <p:pic>
            <p:nvPicPr>
              <p:cNvPr id="241" name="Ink 240">
                <a:extLst>
                  <a:ext uri="{FF2B5EF4-FFF2-40B4-BE49-F238E27FC236}">
                    <a16:creationId xmlns:a16="http://schemas.microsoft.com/office/drawing/2014/main" id="{B026F0BF-9373-40FE-8748-9AF74F2DE310}"/>
                  </a:ext>
                </a:extLst>
              </p:cNvPr>
              <p:cNvPicPr/>
              <p:nvPr/>
            </p:nvPicPr>
            <p:blipFill>
              <a:blip r:embed="rId27"/>
              <a:stretch>
                <a:fillRect/>
              </a:stretch>
            </p:blipFill>
            <p:spPr>
              <a:xfrm>
                <a:off x="7548874" y="3061109"/>
                <a:ext cx="36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28">
            <p14:nvContentPartPr>
              <p14:cNvPr id="242" name="Ink 241">
                <a:extLst>
                  <a:ext uri="{FF2B5EF4-FFF2-40B4-BE49-F238E27FC236}">
                    <a16:creationId xmlns:a16="http://schemas.microsoft.com/office/drawing/2014/main" id="{91D7C96D-9060-4BBB-9548-696353540CF0}"/>
                  </a:ext>
                </a:extLst>
              </p14:cNvPr>
              <p14:cNvContentPartPr/>
              <p14:nvPr/>
            </p14:nvContentPartPr>
            <p14:xfrm>
              <a:off x="7558234" y="3006749"/>
              <a:ext cx="360" cy="360"/>
            </p14:xfrm>
          </p:contentPart>
        </mc:Choice>
        <mc:Fallback xmlns="">
          <p:pic>
            <p:nvPicPr>
              <p:cNvPr id="242" name="Ink 241">
                <a:extLst>
                  <a:ext uri="{FF2B5EF4-FFF2-40B4-BE49-F238E27FC236}">
                    <a16:creationId xmlns:a16="http://schemas.microsoft.com/office/drawing/2014/main" id="{91D7C96D-9060-4BBB-9548-696353540CF0}"/>
                  </a:ext>
                </a:extLst>
              </p:cNvPr>
              <p:cNvPicPr/>
              <p:nvPr/>
            </p:nvPicPr>
            <p:blipFill>
              <a:blip r:embed="rId29"/>
              <a:stretch>
                <a:fillRect/>
              </a:stretch>
            </p:blipFill>
            <p:spPr>
              <a:xfrm>
                <a:off x="7540234" y="2898749"/>
                <a:ext cx="36000" cy="216000"/>
              </a:xfrm>
              <a:prstGeom prst="rect">
                <a:avLst/>
              </a:prstGeom>
            </p:spPr>
          </p:pic>
        </mc:Fallback>
      </mc:AlternateContent>
      <p:pic>
        <p:nvPicPr>
          <p:cNvPr id="23" name="Graphic 22" descr="Flag">
            <a:extLst>
              <a:ext uri="{FF2B5EF4-FFF2-40B4-BE49-F238E27FC236}">
                <a16:creationId xmlns:a16="http://schemas.microsoft.com/office/drawing/2014/main" id="{09ADA1E3-3C5E-44CA-B21F-174EAF4B313B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7374197" y="3007822"/>
            <a:ext cx="545349" cy="545349"/>
          </a:xfrm>
          <a:prstGeom prst="rect">
            <a:avLst/>
          </a:prstGeom>
        </p:spPr>
      </p:pic>
      <p:sp>
        <p:nvSpPr>
          <p:cNvPr id="243" name="Oval 242">
            <a:extLst>
              <a:ext uri="{FF2B5EF4-FFF2-40B4-BE49-F238E27FC236}">
                <a16:creationId xmlns:a16="http://schemas.microsoft.com/office/drawing/2014/main" id="{2DA0CF68-2560-423C-8C81-976983C08322}"/>
              </a:ext>
            </a:extLst>
          </p:cNvPr>
          <p:cNvSpPr/>
          <p:nvPr/>
        </p:nvSpPr>
        <p:spPr>
          <a:xfrm>
            <a:off x="2335776" y="2922893"/>
            <a:ext cx="657685" cy="65768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5" name="Graphic 24" descr="Play">
            <a:extLst>
              <a:ext uri="{FF2B5EF4-FFF2-40B4-BE49-F238E27FC236}">
                <a16:creationId xmlns:a16="http://schemas.microsoft.com/office/drawing/2014/main" id="{3BD01020-E300-4676-95A8-6E075C4703A0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417302" y="2983429"/>
            <a:ext cx="541344" cy="541344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EEBF155-478B-49E3-960C-573F0BA64423}"/>
              </a:ext>
            </a:extLst>
          </p:cNvPr>
          <p:cNvSpPr/>
          <p:nvPr/>
        </p:nvSpPr>
        <p:spPr>
          <a:xfrm>
            <a:off x="3510650" y="3380399"/>
            <a:ext cx="3406702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Foreløpig GAP-analyse samt innspill på fremlagt løsning </a:t>
            </a:r>
            <a:br>
              <a:rPr kumimoji="0" lang="nb-NO" alt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</a:br>
            <a:r>
              <a:rPr kumimoji="0" lang="nb-NO" alt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gjennomføres på hver enhet og meldes inn innen</a:t>
            </a:r>
            <a:br>
              <a:rPr kumimoji="0" lang="nb-NO" alt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</a:br>
            <a:r>
              <a:rPr kumimoji="0" lang="nb-NO" altLang="en-US" sz="10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+mn-lt"/>
              </a:rPr>
              <a:t> fristen gjennom skjema i Forms</a:t>
            </a:r>
            <a:endParaRPr kumimoji="0" lang="nb-NO" sz="1000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+mn-lt"/>
            </a:endParaRP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9BB55570-535E-484F-93AA-CEE2C5D21CAB}"/>
              </a:ext>
            </a:extLst>
          </p:cNvPr>
          <p:cNvSpPr txBox="1"/>
          <p:nvPr/>
        </p:nvSpPr>
        <p:spPr>
          <a:xfrm>
            <a:off x="1818583" y="3590050"/>
            <a:ext cx="16920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9.03</a:t>
            </a:r>
            <a:b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</a:b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  <a:sym typeface="+mn-lt"/>
              </a:rPr>
              <a:t>Oppstart arbeid med innspill og foreløpig gap-analyse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C8F306C2-C11A-4777-9DF3-0DBD96AF8E0B}"/>
              </a:ext>
            </a:extLst>
          </p:cNvPr>
          <p:cNvGrpSpPr/>
          <p:nvPr/>
        </p:nvGrpSpPr>
        <p:grpSpPr>
          <a:xfrm>
            <a:off x="4934124" y="5138266"/>
            <a:ext cx="657685" cy="657685"/>
            <a:chOff x="8741171" y="905839"/>
            <a:chExt cx="657685" cy="657685"/>
          </a:xfrm>
        </p:grpSpPr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8F9D000-CD4D-43B6-8533-29C7F8F96A5D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4">
              <p14:nvContentPartPr>
                <p14:cNvPr id="248" name="Ink 247">
                  <a:extLst>
                    <a:ext uri="{FF2B5EF4-FFF2-40B4-BE49-F238E27FC236}">
                      <a16:creationId xmlns:a16="http://schemas.microsoft.com/office/drawing/2014/main" id="{A0D9F873-4508-4940-B18F-289F2BA6789A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 xmlns="">
            <p:pic>
              <p:nvPicPr>
                <p:cNvPr id="248" name="Ink 247">
                  <a:extLst>
                    <a:ext uri="{FF2B5EF4-FFF2-40B4-BE49-F238E27FC236}">
                      <a16:creationId xmlns:a16="http://schemas.microsoft.com/office/drawing/2014/main" id="{A0D9F873-4508-4940-B18F-289F2BA6789A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36">
              <p14:nvContentPartPr>
                <p14:cNvPr id="249" name="Ink 248">
                  <a:extLst>
                    <a:ext uri="{FF2B5EF4-FFF2-40B4-BE49-F238E27FC236}">
                      <a16:creationId xmlns:a16="http://schemas.microsoft.com/office/drawing/2014/main" id="{9AFF4425-0F07-4DB7-A1A2-44DFCF9A4B67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 xmlns="">
            <p:pic>
              <p:nvPicPr>
                <p:cNvPr id="249" name="Ink 248">
                  <a:extLst>
                    <a:ext uri="{FF2B5EF4-FFF2-40B4-BE49-F238E27FC236}">
                      <a16:creationId xmlns:a16="http://schemas.microsoft.com/office/drawing/2014/main" id="{9AFF4425-0F07-4DB7-A1A2-44DFCF9A4B67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28" name="Graphic 27" descr="Users">
            <a:extLst>
              <a:ext uri="{FF2B5EF4-FFF2-40B4-BE49-F238E27FC236}">
                <a16:creationId xmlns:a16="http://schemas.microsoft.com/office/drawing/2014/main" id="{AC15D0A7-9B81-4014-9019-CCF7B6C0E05F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4992294" y="5187375"/>
            <a:ext cx="541344" cy="541344"/>
          </a:xfrm>
          <a:prstGeom prst="rect">
            <a:avLst/>
          </a:prstGeom>
        </p:spPr>
      </p:pic>
      <p:sp>
        <p:nvSpPr>
          <p:cNvPr id="250" name="TextBox 249">
            <a:extLst>
              <a:ext uri="{FF2B5EF4-FFF2-40B4-BE49-F238E27FC236}">
                <a16:creationId xmlns:a16="http://schemas.microsoft.com/office/drawing/2014/main" id="{DB3C92EC-A55C-4E5D-8046-C1B01023CF16}"/>
              </a:ext>
            </a:extLst>
          </p:cNvPr>
          <p:cNvSpPr txBox="1"/>
          <p:nvPr/>
        </p:nvSpPr>
        <p:spPr>
          <a:xfrm>
            <a:off x="4416932" y="5845060"/>
            <a:ext cx="16920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3B113B-72FD-4FB2-91FC-B146C780E8DE}" type="datetime'''''''''''1''''''''''''''''''''5''.0''''''''''''''''''3'''''''"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.03</a:t>
            </a:fld>
            <a:b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altLang="en-US" sz="12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SA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yringsgrupp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DF23C3C0-B449-4C2D-A54A-952100173095}"/>
              </a:ext>
            </a:extLst>
          </p:cNvPr>
          <p:cNvGrpSpPr/>
          <p:nvPr/>
        </p:nvGrpSpPr>
        <p:grpSpPr>
          <a:xfrm>
            <a:off x="6037544" y="5138266"/>
            <a:ext cx="657685" cy="657685"/>
            <a:chOff x="8741171" y="905839"/>
            <a:chExt cx="657685" cy="657685"/>
          </a:xfrm>
        </p:grpSpPr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D1623C37-0E83-4EC3-A80D-C13A289B380E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0">
              <p14:nvContentPartPr>
                <p14:cNvPr id="256" name="Ink 255">
                  <a:extLst>
                    <a:ext uri="{FF2B5EF4-FFF2-40B4-BE49-F238E27FC236}">
                      <a16:creationId xmlns:a16="http://schemas.microsoft.com/office/drawing/2014/main" id="{A59B0975-5150-4B14-996B-D6C5F509C6F0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 xmlns="">
            <p:pic>
              <p:nvPicPr>
                <p:cNvPr id="256" name="Ink 255">
                  <a:extLst>
                    <a:ext uri="{FF2B5EF4-FFF2-40B4-BE49-F238E27FC236}">
                      <a16:creationId xmlns:a16="http://schemas.microsoft.com/office/drawing/2014/main" id="{A59B0975-5150-4B14-996B-D6C5F509C6F0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2">
              <p14:nvContentPartPr>
                <p14:cNvPr id="257" name="Ink 256">
                  <a:extLst>
                    <a:ext uri="{FF2B5EF4-FFF2-40B4-BE49-F238E27FC236}">
                      <a16:creationId xmlns:a16="http://schemas.microsoft.com/office/drawing/2014/main" id="{3151FC65-1AEB-4D4E-84FE-8025AE8C60A7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 xmlns="">
            <p:pic>
              <p:nvPicPr>
                <p:cNvPr id="257" name="Ink 256">
                  <a:extLst>
                    <a:ext uri="{FF2B5EF4-FFF2-40B4-BE49-F238E27FC236}">
                      <a16:creationId xmlns:a16="http://schemas.microsoft.com/office/drawing/2014/main" id="{3151FC65-1AEB-4D4E-84FE-8025AE8C60A7}"/>
                    </a:ext>
                  </a:extLst>
                </p:cNvPr>
                <p:cNvPicPr/>
                <p:nvPr/>
              </p:nvPicPr>
              <p:blipFill>
                <a:blip r:embed="rId43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253" name="Graphic 252" descr="Users">
            <a:extLst>
              <a:ext uri="{FF2B5EF4-FFF2-40B4-BE49-F238E27FC236}">
                <a16:creationId xmlns:a16="http://schemas.microsoft.com/office/drawing/2014/main" id="{C4646CD2-1A3B-451E-B837-4B2665E6358B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6095714" y="5187375"/>
            <a:ext cx="541344" cy="541344"/>
          </a:xfrm>
          <a:prstGeom prst="rect">
            <a:avLst/>
          </a:prstGeom>
        </p:spPr>
      </p:pic>
      <p:sp>
        <p:nvSpPr>
          <p:cNvPr id="254" name="TextBox 253">
            <a:extLst>
              <a:ext uri="{FF2B5EF4-FFF2-40B4-BE49-F238E27FC236}">
                <a16:creationId xmlns:a16="http://schemas.microsoft.com/office/drawing/2014/main" id="{FB255929-7554-40DA-96C5-312197357A85}"/>
              </a:ext>
            </a:extLst>
          </p:cNvPr>
          <p:cNvSpPr txBox="1"/>
          <p:nvPr/>
        </p:nvSpPr>
        <p:spPr>
          <a:xfrm>
            <a:off x="5520352" y="5845060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8.03</a:t>
            </a:r>
            <a:b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ministrativt lederforum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259" name="Group 258">
            <a:extLst>
              <a:ext uri="{FF2B5EF4-FFF2-40B4-BE49-F238E27FC236}">
                <a16:creationId xmlns:a16="http://schemas.microsoft.com/office/drawing/2014/main" id="{F68634D5-2A02-4B14-8224-AE45AFC273A0}"/>
              </a:ext>
            </a:extLst>
          </p:cNvPr>
          <p:cNvGrpSpPr/>
          <p:nvPr/>
        </p:nvGrpSpPr>
        <p:grpSpPr>
          <a:xfrm>
            <a:off x="7869774" y="5138266"/>
            <a:ext cx="657685" cy="657685"/>
            <a:chOff x="8741171" y="905839"/>
            <a:chExt cx="657685" cy="657685"/>
          </a:xfrm>
        </p:grpSpPr>
        <p:sp>
          <p:nvSpPr>
            <p:cNvPr id="262" name="Oval 261">
              <a:extLst>
                <a:ext uri="{FF2B5EF4-FFF2-40B4-BE49-F238E27FC236}">
                  <a16:creationId xmlns:a16="http://schemas.microsoft.com/office/drawing/2014/main" id="{EE0E404B-EEEF-4647-81DE-1DB0C437806C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4">
              <p14:nvContentPartPr>
                <p14:cNvPr id="263" name="Ink 262">
                  <a:extLst>
                    <a:ext uri="{FF2B5EF4-FFF2-40B4-BE49-F238E27FC236}">
                      <a16:creationId xmlns:a16="http://schemas.microsoft.com/office/drawing/2014/main" id="{BF51F20C-D76D-43D6-B3B7-80ADF997F29E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 xmlns="">
            <p:pic>
              <p:nvPicPr>
                <p:cNvPr id="263" name="Ink 262">
                  <a:extLst>
                    <a:ext uri="{FF2B5EF4-FFF2-40B4-BE49-F238E27FC236}">
                      <a16:creationId xmlns:a16="http://schemas.microsoft.com/office/drawing/2014/main" id="{BF51F20C-D76D-43D6-B3B7-80ADF997F29E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6">
              <p14:nvContentPartPr>
                <p14:cNvPr id="264" name="Ink 263">
                  <a:extLst>
                    <a:ext uri="{FF2B5EF4-FFF2-40B4-BE49-F238E27FC236}">
                      <a16:creationId xmlns:a16="http://schemas.microsoft.com/office/drawing/2014/main" id="{BDDC2BEE-DD29-4CBD-82C0-2C1A7309A4E3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 xmlns="">
            <p:pic>
              <p:nvPicPr>
                <p:cNvPr id="264" name="Ink 263">
                  <a:extLst>
                    <a:ext uri="{FF2B5EF4-FFF2-40B4-BE49-F238E27FC236}">
                      <a16:creationId xmlns:a16="http://schemas.microsoft.com/office/drawing/2014/main" id="{BDDC2BEE-DD29-4CBD-82C0-2C1A7309A4E3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260" name="Graphic 259" descr="Users">
            <a:extLst>
              <a:ext uri="{FF2B5EF4-FFF2-40B4-BE49-F238E27FC236}">
                <a16:creationId xmlns:a16="http://schemas.microsoft.com/office/drawing/2014/main" id="{F1B46CE9-1864-4329-B287-7DA641C83D75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7927944" y="5187375"/>
            <a:ext cx="541344" cy="541344"/>
          </a:xfrm>
          <a:prstGeom prst="rect">
            <a:avLst/>
          </a:prstGeom>
        </p:spPr>
      </p:pic>
      <p:sp>
        <p:nvSpPr>
          <p:cNvPr id="261" name="TextBox 260">
            <a:extLst>
              <a:ext uri="{FF2B5EF4-FFF2-40B4-BE49-F238E27FC236}">
                <a16:creationId xmlns:a16="http://schemas.microsoft.com/office/drawing/2014/main" id="{90036A12-10A3-43DF-837A-CAC5B0B1B80B}"/>
              </a:ext>
            </a:extLst>
          </p:cNvPr>
          <p:cNvSpPr txBox="1"/>
          <p:nvPr/>
        </p:nvSpPr>
        <p:spPr>
          <a:xfrm>
            <a:off x="7352582" y="5845060"/>
            <a:ext cx="1692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.03</a:t>
            </a:r>
            <a:b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ESAM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266" name="Group 265">
            <a:extLst>
              <a:ext uri="{FF2B5EF4-FFF2-40B4-BE49-F238E27FC236}">
                <a16:creationId xmlns:a16="http://schemas.microsoft.com/office/drawing/2014/main" id="{1673BEC4-DB8A-4B41-B7B7-AD42DDD82C00}"/>
              </a:ext>
            </a:extLst>
          </p:cNvPr>
          <p:cNvGrpSpPr/>
          <p:nvPr/>
        </p:nvGrpSpPr>
        <p:grpSpPr>
          <a:xfrm>
            <a:off x="9624466" y="5138266"/>
            <a:ext cx="657685" cy="657685"/>
            <a:chOff x="8741171" y="905839"/>
            <a:chExt cx="657685" cy="657685"/>
          </a:xfrm>
        </p:grpSpPr>
        <p:sp>
          <p:nvSpPr>
            <p:cNvPr id="269" name="Oval 268">
              <a:extLst>
                <a:ext uri="{FF2B5EF4-FFF2-40B4-BE49-F238E27FC236}">
                  <a16:creationId xmlns:a16="http://schemas.microsoft.com/office/drawing/2014/main" id="{4E3FDFD0-4D76-47D8-81A5-B05335D919BA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48">
              <p14:nvContentPartPr>
                <p14:cNvPr id="270" name="Ink 269">
                  <a:extLst>
                    <a:ext uri="{FF2B5EF4-FFF2-40B4-BE49-F238E27FC236}">
                      <a16:creationId xmlns:a16="http://schemas.microsoft.com/office/drawing/2014/main" id="{7215323F-089C-4C4F-81AB-EBB003E262A8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 xmlns="">
            <p:pic>
              <p:nvPicPr>
                <p:cNvPr id="270" name="Ink 269">
                  <a:extLst>
                    <a:ext uri="{FF2B5EF4-FFF2-40B4-BE49-F238E27FC236}">
                      <a16:creationId xmlns:a16="http://schemas.microsoft.com/office/drawing/2014/main" id="{7215323F-089C-4C4F-81AB-EBB003E262A8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0">
              <p14:nvContentPartPr>
                <p14:cNvPr id="271" name="Ink 270">
                  <a:extLst>
                    <a:ext uri="{FF2B5EF4-FFF2-40B4-BE49-F238E27FC236}">
                      <a16:creationId xmlns:a16="http://schemas.microsoft.com/office/drawing/2014/main" id="{8DF7BFAC-0820-458C-9D6F-81F6C754571B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 xmlns="">
            <p:pic>
              <p:nvPicPr>
                <p:cNvPr id="271" name="Ink 270">
                  <a:extLst>
                    <a:ext uri="{FF2B5EF4-FFF2-40B4-BE49-F238E27FC236}">
                      <a16:creationId xmlns:a16="http://schemas.microsoft.com/office/drawing/2014/main" id="{8DF7BFAC-0820-458C-9D6F-81F6C754571B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267" name="Graphic 266" descr="Users">
            <a:extLst>
              <a:ext uri="{FF2B5EF4-FFF2-40B4-BE49-F238E27FC236}">
                <a16:creationId xmlns:a16="http://schemas.microsoft.com/office/drawing/2014/main" id="{D288E75B-BFAF-497B-B91E-12CD6D366060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9682636" y="5187375"/>
            <a:ext cx="541344" cy="541344"/>
          </a:xfrm>
          <a:prstGeom prst="rect">
            <a:avLst/>
          </a:prstGeom>
        </p:spPr>
      </p:pic>
      <p:sp>
        <p:nvSpPr>
          <p:cNvPr id="268" name="TextBox 267">
            <a:extLst>
              <a:ext uri="{FF2B5EF4-FFF2-40B4-BE49-F238E27FC236}">
                <a16:creationId xmlns:a16="http://schemas.microsoft.com/office/drawing/2014/main" id="{E3AD18D2-5B6B-46B0-A7EF-4EE5C2B5F3FA}"/>
              </a:ext>
            </a:extLst>
          </p:cNvPr>
          <p:cNvSpPr txBox="1"/>
          <p:nvPr/>
        </p:nvSpPr>
        <p:spPr>
          <a:xfrm>
            <a:off x="9107274" y="5845060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8.04</a:t>
            </a:r>
            <a:b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dministrativt lederforum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273" name="Group 272">
            <a:extLst>
              <a:ext uri="{FF2B5EF4-FFF2-40B4-BE49-F238E27FC236}">
                <a16:creationId xmlns:a16="http://schemas.microsoft.com/office/drawing/2014/main" id="{F44FE0DB-9B98-43DD-BB41-A694A66C76BF}"/>
              </a:ext>
            </a:extLst>
          </p:cNvPr>
          <p:cNvGrpSpPr/>
          <p:nvPr/>
        </p:nvGrpSpPr>
        <p:grpSpPr>
          <a:xfrm>
            <a:off x="11064808" y="5138266"/>
            <a:ext cx="657685" cy="657685"/>
            <a:chOff x="8741171" y="905839"/>
            <a:chExt cx="657685" cy="657685"/>
          </a:xfrm>
        </p:grpSpPr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88C16ED2-58C2-4ABC-82DC-B0DAA5FEE945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2">
              <p14:nvContentPartPr>
                <p14:cNvPr id="277" name="Ink 276">
                  <a:extLst>
                    <a:ext uri="{FF2B5EF4-FFF2-40B4-BE49-F238E27FC236}">
                      <a16:creationId xmlns:a16="http://schemas.microsoft.com/office/drawing/2014/main" id="{13D8D7D8-6B5F-4045-B0B4-4868CECED13D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 xmlns="">
            <p:pic>
              <p:nvPicPr>
                <p:cNvPr id="277" name="Ink 276">
                  <a:extLst>
                    <a:ext uri="{FF2B5EF4-FFF2-40B4-BE49-F238E27FC236}">
                      <a16:creationId xmlns:a16="http://schemas.microsoft.com/office/drawing/2014/main" id="{13D8D7D8-6B5F-4045-B0B4-4868CECED13D}"/>
                    </a:ext>
                  </a:extLst>
                </p:cNvPr>
                <p:cNvPicPr/>
                <p:nvPr/>
              </p:nvPicPr>
              <p:blipFill>
                <a:blip r:embed="rId53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4">
              <p14:nvContentPartPr>
                <p14:cNvPr id="278" name="Ink 277">
                  <a:extLst>
                    <a:ext uri="{FF2B5EF4-FFF2-40B4-BE49-F238E27FC236}">
                      <a16:creationId xmlns:a16="http://schemas.microsoft.com/office/drawing/2014/main" id="{FFFBB9DB-2AF9-4B32-BAD9-DC2897B448DE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 xmlns="">
            <p:pic>
              <p:nvPicPr>
                <p:cNvPr id="278" name="Ink 277">
                  <a:extLst>
                    <a:ext uri="{FF2B5EF4-FFF2-40B4-BE49-F238E27FC236}">
                      <a16:creationId xmlns:a16="http://schemas.microsoft.com/office/drawing/2014/main" id="{FFFBB9DB-2AF9-4B32-BAD9-DC2897B448DE}"/>
                    </a:ext>
                  </a:extLst>
                </p:cNvPr>
                <p:cNvPicPr/>
                <p:nvPr/>
              </p:nvPicPr>
              <p:blipFill>
                <a:blip r:embed="rId55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274" name="Graphic 273" descr="Users">
            <a:extLst>
              <a:ext uri="{FF2B5EF4-FFF2-40B4-BE49-F238E27FC236}">
                <a16:creationId xmlns:a16="http://schemas.microsoft.com/office/drawing/2014/main" id="{422F5ACC-ECF2-4DBF-BDD2-46940A118FDC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1122978" y="5187375"/>
            <a:ext cx="541344" cy="541344"/>
          </a:xfrm>
          <a:prstGeom prst="rect">
            <a:avLst/>
          </a:prstGeom>
        </p:spPr>
      </p:pic>
      <p:sp>
        <p:nvSpPr>
          <p:cNvPr id="275" name="TextBox 274">
            <a:extLst>
              <a:ext uri="{FF2B5EF4-FFF2-40B4-BE49-F238E27FC236}">
                <a16:creationId xmlns:a16="http://schemas.microsoft.com/office/drawing/2014/main" id="{1312BEF9-9CC2-4DBF-8217-393992E4F606}"/>
              </a:ext>
            </a:extLst>
          </p:cNvPr>
          <p:cNvSpPr txBox="1"/>
          <p:nvPr/>
        </p:nvSpPr>
        <p:spPr>
          <a:xfrm>
            <a:off x="10547616" y="5845060"/>
            <a:ext cx="1692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.04</a:t>
            </a:r>
            <a:b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yringsgruppe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280" name="Flowchart: Decision 279">
            <a:extLst>
              <a:ext uri="{FF2B5EF4-FFF2-40B4-BE49-F238E27FC236}">
                <a16:creationId xmlns:a16="http://schemas.microsoft.com/office/drawing/2014/main" id="{8710D3D7-827A-429E-9632-D1D1D6C8B392}"/>
              </a:ext>
            </a:extLst>
          </p:cNvPr>
          <p:cNvSpPr/>
          <p:nvPr/>
        </p:nvSpPr>
        <p:spPr>
          <a:xfrm>
            <a:off x="11127802" y="4500630"/>
            <a:ext cx="540000" cy="540000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1" name="Isosceles Triangle 280">
            <a:extLst>
              <a:ext uri="{FF2B5EF4-FFF2-40B4-BE49-F238E27FC236}">
                <a16:creationId xmlns:a16="http://schemas.microsoft.com/office/drawing/2014/main" id="{6024E9BD-9F95-40C6-A319-6049447BDF15}"/>
              </a:ext>
            </a:extLst>
          </p:cNvPr>
          <p:cNvSpPr/>
          <p:nvPr/>
        </p:nvSpPr>
        <p:spPr>
          <a:xfrm>
            <a:off x="7285115" y="2260829"/>
            <a:ext cx="540000" cy="540000"/>
          </a:xfrm>
          <a:prstGeom prst="triangle">
            <a:avLst/>
          </a:prstGeom>
          <a:solidFill>
            <a:srgbClr val="FFC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8" name="Graphic 37" descr="Line arrow Clockwise curve">
            <a:extLst>
              <a:ext uri="{FF2B5EF4-FFF2-40B4-BE49-F238E27FC236}">
                <a16:creationId xmlns:a16="http://schemas.microsoft.com/office/drawing/2014/main" id="{95FAF6AE-7970-4153-AFBD-6657B0ADB684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 rot="3527850" flipV="1">
            <a:off x="8052770" y="2559321"/>
            <a:ext cx="540001" cy="820997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AF5E8DE7-542B-49DB-B0B3-FA7D7F3DF45E}"/>
              </a:ext>
            </a:extLst>
          </p:cNvPr>
          <p:cNvSpPr txBox="1"/>
          <p:nvPr/>
        </p:nvSpPr>
        <p:spPr>
          <a:xfrm>
            <a:off x="8662650" y="2340774"/>
            <a:ext cx="33436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m formell behandling og innspill fører til store endringer i løsning, vil det bli innhentet en oppdatert gap-analyse etter beslutningspunktet 12.04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1C0523A-FA4C-439E-B1DB-399E8CA726BA}"/>
              </a:ext>
            </a:extLst>
          </p:cNvPr>
          <p:cNvSpPr txBox="1"/>
          <p:nvPr/>
        </p:nvSpPr>
        <p:spPr>
          <a:xfrm>
            <a:off x="4044396" y="2951904"/>
            <a:ext cx="21849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Gap-analyse og innspill</a:t>
            </a:r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1F482261-6AEA-4F5F-9452-1D2C193732E1}"/>
              </a:ext>
            </a:extLst>
          </p:cNvPr>
          <p:cNvGrpSpPr/>
          <p:nvPr/>
        </p:nvGrpSpPr>
        <p:grpSpPr>
          <a:xfrm>
            <a:off x="8747121" y="5123390"/>
            <a:ext cx="657685" cy="657685"/>
            <a:chOff x="8741171" y="905839"/>
            <a:chExt cx="657685" cy="657685"/>
          </a:xfrm>
          <a:solidFill>
            <a:srgbClr val="000000">
              <a:alpha val="25098"/>
            </a:srgbClr>
          </a:solidFill>
        </p:grpSpPr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AA6727C6-E801-4888-8005-294C36E5B275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grpFill/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58">
              <p14:nvContentPartPr>
                <p14:cNvPr id="79" name="Ink 78">
                  <a:extLst>
                    <a:ext uri="{FF2B5EF4-FFF2-40B4-BE49-F238E27FC236}">
                      <a16:creationId xmlns:a16="http://schemas.microsoft.com/office/drawing/2014/main" id="{6A42DB1B-8DB0-42FC-B855-FE4C96B961E6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 xmlns="">
            <p:pic>
              <p:nvPicPr>
                <p:cNvPr id="79" name="Ink 78">
                  <a:extLst>
                    <a:ext uri="{FF2B5EF4-FFF2-40B4-BE49-F238E27FC236}">
                      <a16:creationId xmlns:a16="http://schemas.microsoft.com/office/drawing/2014/main" id="{6A42DB1B-8DB0-42FC-B855-FE4C96B961E6}"/>
                    </a:ext>
                  </a:extLst>
                </p:cNvPr>
                <p:cNvPicPr/>
                <p:nvPr/>
              </p:nvPicPr>
              <p:blipFill>
                <a:blip r:embed="rId59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14="http://schemas.microsoft.com/office/powerpoint/2010/main" xmlns:aink="http://schemas.microsoft.com/office/drawing/2016/ink">
          <mc:Choice Requires="p14 aink">
            <p:contentPart p14:bwMode="auto" r:id="rId60">
              <p14:nvContentPartPr>
                <p14:cNvPr id="80" name="Ink 79">
                  <a:extLst>
                    <a:ext uri="{FF2B5EF4-FFF2-40B4-BE49-F238E27FC236}">
                      <a16:creationId xmlns:a16="http://schemas.microsoft.com/office/drawing/2014/main" id="{A051FEC7-ED1F-4BE4-A35B-2E05CA9CE633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 xmlns="">
            <p:pic>
              <p:nvPicPr>
                <p:cNvPr id="80" name="Ink 79">
                  <a:extLst>
                    <a:ext uri="{FF2B5EF4-FFF2-40B4-BE49-F238E27FC236}">
                      <a16:creationId xmlns:a16="http://schemas.microsoft.com/office/drawing/2014/main" id="{A051FEC7-ED1F-4BE4-A35B-2E05CA9CE633}"/>
                    </a:ext>
                  </a:extLst>
                </p:cNvPr>
                <p:cNvPicPr/>
                <p:nvPr/>
              </p:nvPicPr>
              <p:blipFill>
                <a:blip r:embed="rId61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81" name="Graphic 80" descr="Users">
            <a:extLst>
              <a:ext uri="{FF2B5EF4-FFF2-40B4-BE49-F238E27FC236}">
                <a16:creationId xmlns:a16="http://schemas.microsoft.com/office/drawing/2014/main" id="{68855BA4-B521-48E6-A59B-30D895D09AC8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3"/>
              </a:ext>
            </a:extLst>
          </a:blip>
          <a:stretch>
            <a:fillRect/>
          </a:stretch>
        </p:blipFill>
        <p:spPr>
          <a:xfrm>
            <a:off x="8805290" y="5178484"/>
            <a:ext cx="541344" cy="541344"/>
          </a:xfrm>
          <a:prstGeom prst="rect">
            <a:avLst/>
          </a:prstGeom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1798E6D1-1DA9-448C-86FB-EF1DB8C8071A}"/>
              </a:ext>
            </a:extLst>
          </p:cNvPr>
          <p:cNvSpPr txBox="1"/>
          <p:nvPr/>
        </p:nvSpPr>
        <p:spPr>
          <a:xfrm>
            <a:off x="8229929" y="5830184"/>
            <a:ext cx="1692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6.03</a:t>
            </a:r>
            <a:br>
              <a:rPr kumimoji="0" lang="nb-NO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altLang="en-US" sz="1200" b="0" i="0" u="none" strike="noStrike" kern="1200" cap="none" spc="0" normalizeH="0" baseline="0" noProof="0" err="1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kanM</a:t>
            </a:r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  <a:sym typeface="+mn-lt"/>
            </a:endParaRPr>
          </a:p>
        </p:txBody>
      </p:sp>
      <p:pic>
        <p:nvPicPr>
          <p:cNvPr id="5" name="Graphic 4" descr="Document">
            <a:extLst>
              <a:ext uri="{FF2B5EF4-FFF2-40B4-BE49-F238E27FC236}">
                <a16:creationId xmlns:a16="http://schemas.microsoft.com/office/drawing/2014/main" id="{1E7CA56D-F8E7-4B47-972A-E910CC613C92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8267380" y="3734763"/>
            <a:ext cx="684077" cy="684077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66">
            <p14:nvContentPartPr>
              <p14:cNvPr id="6" name="Ink 5">
                <a:extLst>
                  <a:ext uri="{FF2B5EF4-FFF2-40B4-BE49-F238E27FC236}">
                    <a16:creationId xmlns:a16="http://schemas.microsoft.com/office/drawing/2014/main" id="{D821A69D-F1BF-4BA5-8207-BA55E35DAE40}"/>
                  </a:ext>
                </a:extLst>
              </p14:cNvPr>
              <p14:cNvContentPartPr/>
              <p14:nvPr/>
            </p14:nvContentPartPr>
            <p14:xfrm>
              <a:off x="10425979" y="4213674"/>
              <a:ext cx="360" cy="360"/>
            </p14:xfrm>
          </p:contentPart>
        </mc:Choice>
        <mc:Fallback xmlns="">
          <p:pic>
            <p:nvPicPr>
              <p:cNvPr id="6" name="Ink 5">
                <a:extLst>
                  <a:ext uri="{FF2B5EF4-FFF2-40B4-BE49-F238E27FC236}">
                    <a16:creationId xmlns:a16="http://schemas.microsoft.com/office/drawing/2014/main" id="{D821A69D-F1BF-4BA5-8207-BA55E35DAE40}"/>
                  </a:ext>
                </a:extLst>
              </p:cNvPr>
              <p:cNvPicPr/>
              <p:nvPr/>
            </p:nvPicPr>
            <p:blipFill>
              <a:blip r:embed="rId67"/>
              <a:stretch>
                <a:fillRect/>
              </a:stretch>
            </p:blipFill>
            <p:spPr>
              <a:xfrm>
                <a:off x="10407979" y="4105674"/>
                <a:ext cx="36000" cy="216000"/>
              </a:xfrm>
              <a:prstGeom prst="rect">
                <a:avLst/>
              </a:prstGeom>
            </p:spPr>
          </p:pic>
        </mc:Fallback>
      </mc:AlternateContent>
      <p:sp>
        <p:nvSpPr>
          <p:cNvPr id="34" name="TextBox 33">
            <a:extLst>
              <a:ext uri="{FF2B5EF4-FFF2-40B4-BE49-F238E27FC236}">
                <a16:creationId xmlns:a16="http://schemas.microsoft.com/office/drawing/2014/main" id="{273B2039-9C49-4D9F-BAA9-E37304E40F9D}"/>
              </a:ext>
            </a:extLst>
          </p:cNvPr>
          <p:cNvSpPr txBox="1"/>
          <p:nvPr/>
        </p:nvSpPr>
        <p:spPr>
          <a:xfrm>
            <a:off x="8951458" y="3849369"/>
            <a:ext cx="184788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nspillene går inn i</a:t>
            </a:r>
            <a:b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nb-NO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en formelle behandlingen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E8E08929-559E-49DF-92E5-881CA7B3BD7B}"/>
              </a:ext>
            </a:extLst>
          </p:cNvPr>
          <p:cNvSpPr/>
          <p:nvPr/>
        </p:nvSpPr>
        <p:spPr>
          <a:xfrm flipH="1" flipV="1">
            <a:off x="6688470" y="3613665"/>
            <a:ext cx="43763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>
                <a:solidFill>
                  <a:srgbClr val="FFFFFF"/>
                </a:solidFill>
                <a:latin typeface="Segoe UI" panose="020B0502040204020203" pitchFamily="34" charset="0"/>
              </a:rPr>
              <a:t>91228627</a:t>
            </a:r>
            <a:endParaRPr lang="nb-NO"/>
          </a:p>
        </p:txBody>
      </p:sp>
      <p:sp>
        <p:nvSpPr>
          <p:cNvPr id="92" name="TextBox 33">
            <a:extLst>
              <a:ext uri="{FF2B5EF4-FFF2-40B4-BE49-F238E27FC236}">
                <a16:creationId xmlns:a16="http://schemas.microsoft.com/office/drawing/2014/main" id="{BA0B5D73-3A64-402B-B829-8707A5690226}"/>
              </a:ext>
            </a:extLst>
          </p:cNvPr>
          <p:cNvSpPr txBox="1"/>
          <p:nvPr/>
        </p:nvSpPr>
        <p:spPr>
          <a:xfrm>
            <a:off x="10634013" y="4277618"/>
            <a:ext cx="18478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100">
                <a:solidFill>
                  <a:srgbClr val="000000"/>
                </a:solidFill>
                <a:latin typeface="Arial" panose="020B0604020202020204"/>
              </a:rPr>
              <a:t>Forslag til prosjekteier</a:t>
            </a:r>
            <a:endParaRPr kumimoji="0" lang="nb-NO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672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4255108"/>
              </p:ext>
            </p:extLst>
          </p:nvPr>
        </p:nvGraphicFramePr>
        <p:xfrm>
          <a:off x="401849" y="1211668"/>
          <a:ext cx="5694151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694151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osess for tilbakemeldinger og forankring av 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u="none">
                          <a:solidFill>
                            <a:schemeClr val="bg1"/>
                          </a:solidFill>
                        </a:rPr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EB01B40-0F35-4A65-9582-E1D495C165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29602" y="472271"/>
            <a:ext cx="4916218" cy="591345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7258023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C28DE4-487C-46C1-894E-EE4A898E68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C28DE4-487C-46C1-894E-EE4A898E6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E63F45-8C16-427D-9237-E7552F1892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76C26B-C0BD-40B7-8ACD-46FC653A5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1571842"/>
          </a:xfrm>
        </p:spPr>
        <p:txBody>
          <a:bodyPr/>
          <a:lstStyle/>
          <a:p>
            <a:r>
              <a:rPr lang="nb-NO"/>
              <a:t>Spørsmål og svar til løsningsforslag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528982-2FE1-450F-913B-2065FFB878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61990"/>
            <a:ext cx="6343650" cy="5059257"/>
          </a:xfrm>
        </p:spPr>
        <p:txBody>
          <a:bodyPr/>
          <a:lstStyle/>
          <a:p>
            <a:endParaRPr lang="nb-NO" sz="2000"/>
          </a:p>
        </p:txBody>
      </p:sp>
      <p:pic>
        <p:nvPicPr>
          <p:cNvPr id="8" name="Picture 7" descr="A picture containing sky, outdoor, mountain&#10;&#10;Description automatically generated">
            <a:extLst>
              <a:ext uri="{FF2B5EF4-FFF2-40B4-BE49-F238E27FC236}">
                <a16:creationId xmlns:a16="http://schemas.microsoft.com/office/drawing/2014/main" id="{3FDC10B1-3491-48AF-B83C-FE14F5F14B17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4242" r="758"/>
          <a:stretch/>
        </p:blipFill>
        <p:spPr>
          <a:xfrm>
            <a:off x="7190248" y="1648019"/>
            <a:ext cx="4487197" cy="448719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6545154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8121839"/>
              </p:ext>
            </p:extLst>
          </p:nvPr>
        </p:nvGraphicFramePr>
        <p:xfrm>
          <a:off x="401849" y="1211668"/>
          <a:ext cx="5694151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694151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osess for tilbakemeldinger og forankring av 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u="none">
                          <a:solidFill>
                            <a:schemeClr val="bg1"/>
                          </a:solidFill>
                        </a:rPr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EB01B40-0F35-4A65-9582-E1D495C165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29602" y="472271"/>
            <a:ext cx="4916218" cy="591345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9208094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Content Placeholder 11" descr="A picture containing sky, sunset, outdoor, plane&#10;&#10;Description automatically generated">
            <a:extLst>
              <a:ext uri="{FF2B5EF4-FFF2-40B4-BE49-F238E27FC236}">
                <a16:creationId xmlns:a16="http://schemas.microsoft.com/office/drawing/2014/main" id="{C8439158-C894-4DB1-BA18-06D60D9CA15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-160638"/>
            <a:ext cx="12191999" cy="7018638"/>
          </a:xfr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FAE0CC15-C0CB-4E71-A026-E145A1F2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3502" y="1464478"/>
            <a:ext cx="11224996" cy="864683"/>
          </a:xfrm>
        </p:spPr>
        <p:txBody>
          <a:bodyPr/>
          <a:lstStyle/>
          <a:p>
            <a:pPr algn="ctr"/>
            <a:r>
              <a:rPr lang="nb-NO">
                <a:solidFill>
                  <a:schemeClr val="bg1"/>
                </a:solidFill>
              </a:rPr>
              <a:t>Takk for deltakelsen!</a:t>
            </a:r>
          </a:p>
        </p:txBody>
      </p:sp>
    </p:spTree>
    <p:extLst>
      <p:ext uri="{BB962C8B-B14F-4D97-AF65-F5344CB8AC3E}">
        <p14:creationId xmlns:p14="http://schemas.microsoft.com/office/powerpoint/2010/main" val="42356693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7771199"/>
              </p:ext>
            </p:extLst>
          </p:nvPr>
        </p:nvGraphicFramePr>
        <p:xfrm>
          <a:off x="401849" y="1211668"/>
          <a:ext cx="5414753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146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Prosess for tilbakemeldinger og forankring av forsla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EB01B40-0F35-4A65-9582-E1D495C165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29602" y="472271"/>
            <a:ext cx="4916218" cy="591345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723010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3809557"/>
              </p:ext>
            </p:extLst>
          </p:nvPr>
        </p:nvGraphicFramePr>
        <p:xfrm>
          <a:off x="401849" y="1211668"/>
          <a:ext cx="5414753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Prosess for tilbakemeldinger og forankring av forsla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EB01B40-0F35-4A65-9582-E1D495C165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29602" y="472271"/>
            <a:ext cx="4916218" cy="591345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641497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600439"/>
          </a:xfrm>
        </p:spPr>
        <p:txBody>
          <a:bodyPr/>
          <a:lstStyle/>
          <a:p>
            <a:r>
              <a:rPr lang="nb-NO"/>
              <a:t>Mål for dagen</a:t>
            </a:r>
            <a:br>
              <a:rPr lang="nb-NO"/>
            </a:b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0D4E38-4997-4E30-B4BB-F092D3CC5C0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121920" tIns="60960" rIns="121920" bIns="60960" rtlCol="0" anchor="t">
            <a:normAutofit/>
          </a:bodyPr>
          <a:lstStyle/>
          <a:p>
            <a:pPr marL="380990" indent="-380990">
              <a:spcBef>
                <a:spcPts val="0"/>
              </a:spcBef>
              <a:buFont typeface="Arial,Sans-Serif"/>
              <a:buChar char="•"/>
            </a:pPr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2487086" y="2813607"/>
            <a:ext cx="548639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 defTabSz="609585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380990" indent="-380990" defTabSz="609585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609585" lvl="1" defTabSz="609585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609585" lvl="1" defTabSz="609585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609585">
              <a:defRPr/>
            </a:pPr>
            <a:endParaRPr lang="nb-NO" sz="240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109" y="1075543"/>
            <a:ext cx="10828636" cy="514058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3905756" y="1219200"/>
            <a:ext cx="6775731" cy="4747328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chemeClr val="tx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4447766" y="2561789"/>
            <a:ext cx="6121108" cy="1272208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endParaRPr lang="nb-NO" sz="2667">
              <a:solidFill>
                <a:srgbClr val="000000"/>
              </a:solidFill>
              <a:latin typeface="Arial" panose="020B0604020202020204"/>
              <a:ea typeface="+mn-lt"/>
              <a:cs typeface="Arial" panose="020B0604020202020204"/>
            </a:endParaRPr>
          </a:p>
          <a:p>
            <a:pPr defTabSz="609585">
              <a:defRPr/>
            </a:pP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Gi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informasjon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om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løsningsforslag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for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lønn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og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lønnsnær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HR </a:t>
            </a:r>
            <a:r>
              <a:rPr lang="en-US" sz="2400" err="1">
                <a:solidFill>
                  <a:srgbClr val="000000"/>
                </a:solidFill>
                <a:latin typeface="Arial" panose="020B0604020202020204"/>
                <a:cs typeface="Arial"/>
              </a:rPr>
              <a:t>etter</a:t>
            </a:r>
            <a:r>
              <a:rPr lang="en-US" sz="2400">
                <a:solidFill>
                  <a:srgbClr val="000000"/>
                </a:solidFill>
                <a:latin typeface="Arial" panose="020B0604020202020204"/>
                <a:cs typeface="Arial"/>
              </a:rPr>
              <a:t> design sprint</a:t>
            </a:r>
          </a:p>
        </p:txBody>
      </p:sp>
    </p:spTree>
    <p:extLst>
      <p:ext uri="{BB962C8B-B14F-4D97-AF65-F5344CB8AC3E}">
        <p14:creationId xmlns:p14="http://schemas.microsoft.com/office/powerpoint/2010/main" val="16899724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802344"/>
              </p:ext>
            </p:extLst>
          </p:nvPr>
        </p:nvGraphicFramePr>
        <p:xfrm>
          <a:off x="401849" y="1211668"/>
          <a:ext cx="5414753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Prosess for tilbakemeldinger og forankring av forsla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EB01B40-0F35-4A65-9582-E1D495C165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29602" y="472271"/>
            <a:ext cx="4916218" cy="591345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721777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ECB5CA-CF15-4658-9360-E501D923FD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7ECB5CA-CF15-4658-9360-E501D923F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Table 19">
            <a:extLst>
              <a:ext uri="{FF2B5EF4-FFF2-40B4-BE49-F238E27FC236}">
                <a16:creationId xmlns:a16="http://schemas.microsoft.com/office/drawing/2014/main" id="{DFEE4284-E8AA-47E9-9AC9-0544BE08E79C}"/>
              </a:ext>
            </a:extLst>
          </p:cNvPr>
          <p:cNvGraphicFramePr>
            <a:graphicFrameLocks noGrp="1"/>
          </p:cNvGraphicFramePr>
          <p:nvPr/>
        </p:nvGraphicFramePr>
        <p:xfrm>
          <a:off x="480716" y="1288988"/>
          <a:ext cx="11154385" cy="5414588"/>
        </p:xfrm>
        <a:graphic>
          <a:graphicData uri="http://schemas.openxmlformats.org/drawingml/2006/table">
            <a:tbl>
              <a:tblPr firstRow="1">
                <a:tableStyleId>{21E4AEA4-8DFA-4A89-87EB-49C32662AFE0}</a:tableStyleId>
              </a:tblPr>
              <a:tblGrid>
                <a:gridCol w="2230877">
                  <a:extLst>
                    <a:ext uri="{9D8B030D-6E8A-4147-A177-3AD203B41FA5}">
                      <a16:colId xmlns:a16="http://schemas.microsoft.com/office/drawing/2014/main" val="559768178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4062673064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1316617364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2476370768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1646304084"/>
                    </a:ext>
                  </a:extLst>
                </a:gridCol>
              </a:tblGrid>
              <a:tr h="357252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>
                          <a:solidFill>
                            <a:schemeClr val="bg1"/>
                          </a:solidFill>
                        </a:rPr>
                        <a:t>Man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/>
                        <a:t>Tirs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/>
                        <a:t>Ons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/>
                        <a:t>Tors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/>
                        <a:t>Freda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9494764"/>
                  </a:ext>
                </a:extLst>
              </a:tr>
              <a:tr h="1606971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481140"/>
                  </a:ext>
                </a:extLst>
              </a:tr>
              <a:tr h="357252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Forståels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Hypotes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Tes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Bearbeide innspil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Løsningsforslag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100347"/>
                  </a:ext>
                </a:extLst>
              </a:tr>
              <a:tr h="1437789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Belyse fokusområder</a:t>
                      </a:r>
                    </a:p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Kunnskapsgrunnlag og workshop med referanseteam</a:t>
                      </a:r>
                      <a:endParaRPr lang="nb-NO" sz="1500" b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nb-NO" sz="15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Konkrete løsningsforslag per fokusområde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Prioritere 2-3 forslag per fokusområd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Presentere løsningsforslag og workshop med 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Innspill fra operativ prosessei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Bearbeide innspill med Kjerneteamet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Ferdigstille løsningsforsla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Presentere løsningsforslag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OK fra operativ prosesseier</a:t>
                      </a:r>
                      <a:endParaRPr lang="nb-NO" sz="1500" b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165501"/>
                  </a:ext>
                </a:extLst>
              </a:tr>
              <a:tr h="1630073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 b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Referansete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>
                          <a:solidFill>
                            <a:schemeClr val="tx1"/>
                          </a:solidFill>
                        </a:rPr>
                        <a:t>(Intervjuobjekter/</a:t>
                      </a:r>
                      <a:br>
                        <a:rPr lang="nb-NO" sz="1500" b="0">
                          <a:solidFill>
                            <a:schemeClr val="tx1"/>
                          </a:solidFill>
                        </a:rPr>
                      </a:br>
                      <a:r>
                        <a:rPr lang="nb-NO" sz="1500" b="0">
                          <a:solidFill>
                            <a:schemeClr val="tx1"/>
                          </a:solidFill>
                        </a:rPr>
                        <a:t>fokusgrupper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Operativ prosesseier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(Intervjuobjekter/</a:t>
                      </a:r>
                      <a:br>
                        <a:rPr lang="nb-NO" sz="1500"/>
                      </a:br>
                      <a:r>
                        <a:rPr lang="nb-NO" sz="1500"/>
                        <a:t>fokusgrupper)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nb-NO" sz="150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/>
                        <a:t>Operativ prosessei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966208"/>
                  </a:ext>
                </a:extLst>
              </a:tr>
            </a:tbl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5EEFB180-BD44-4751-9480-146FF0D04EF8}"/>
              </a:ext>
            </a:extLst>
          </p:cNvPr>
          <p:cNvGrpSpPr/>
          <p:nvPr/>
        </p:nvGrpSpPr>
        <p:grpSpPr>
          <a:xfrm>
            <a:off x="556901" y="1729268"/>
            <a:ext cx="10773249" cy="1482557"/>
            <a:chOff x="-389322" y="2070835"/>
            <a:chExt cx="9846530" cy="1301430"/>
          </a:xfrm>
        </p:grpSpPr>
        <p:pic>
          <p:nvPicPr>
            <p:cNvPr id="20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E760B286-2E02-4004-8322-5CCF19042A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55" t="18176" r="78810" b="42613"/>
            <a:stretch/>
          </p:blipFill>
          <p:spPr bwMode="auto">
            <a:xfrm>
              <a:off x="-389322" y="2070835"/>
              <a:ext cx="1652986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F6E211A6-6CA8-40C3-B362-49A35B5F362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251" t="18176" r="41616" b="42613"/>
            <a:stretch/>
          </p:blipFill>
          <p:spPr bwMode="auto">
            <a:xfrm>
              <a:off x="3821919" y="2070835"/>
              <a:ext cx="148864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4A629F67-3E57-4725-A411-585B4E48596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241" t="18176" r="19975" b="42613"/>
            <a:stretch/>
          </p:blipFill>
          <p:spPr bwMode="auto">
            <a:xfrm>
              <a:off x="5722192" y="2070835"/>
              <a:ext cx="1706258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4F4B0431-A06E-4727-B2E9-3016B369186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983" t="18176" b="42613"/>
            <a:stretch/>
          </p:blipFill>
          <p:spPr bwMode="auto">
            <a:xfrm>
              <a:off x="7649733" y="2070835"/>
              <a:ext cx="1807475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1BEDF98D-D775-4D39-AEF5-8EA62DF6A62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916" t="18176" r="59667" b="42613"/>
            <a:stretch/>
          </p:blipFill>
          <p:spPr bwMode="auto">
            <a:xfrm>
              <a:off x="1730617" y="2070835"/>
              <a:ext cx="159407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E8D40CC-6DF6-42E2-A3EC-C37A9AABE627}"/>
              </a:ext>
            </a:extLst>
          </p:cNvPr>
          <p:cNvSpPr/>
          <p:nvPr/>
        </p:nvSpPr>
        <p:spPr>
          <a:xfrm rot="20869639">
            <a:off x="288470" y="4956180"/>
            <a:ext cx="555941" cy="15236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chemeClr val="tx1">
                    <a:lumMod val="75000"/>
                    <a:lumOff val="25000"/>
                  </a:schemeClr>
                </a:solidFill>
              </a:rPr>
              <a:t>Deltakere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D127E93-8357-4D24-B91D-5B5386F4DEDB}"/>
              </a:ext>
            </a:extLst>
          </p:cNvPr>
          <p:cNvSpPr/>
          <p:nvPr/>
        </p:nvSpPr>
        <p:spPr>
          <a:xfrm rot="20973762">
            <a:off x="287858" y="3519394"/>
            <a:ext cx="555941" cy="15236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chemeClr val="tx1">
                    <a:lumMod val="75000"/>
                    <a:lumOff val="25000"/>
                  </a:schemeClr>
                </a:solidFill>
              </a:rPr>
              <a:t>Aktiviteter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DBB257-29F1-4F8F-847F-A0C13E8F75C5}"/>
              </a:ext>
            </a:extLst>
          </p:cNvPr>
          <p:cNvSpPr txBox="1">
            <a:spLocks/>
          </p:cNvSpPr>
          <p:nvPr/>
        </p:nvSpPr>
        <p:spPr>
          <a:xfrm>
            <a:off x="2599304" y="6410084"/>
            <a:ext cx="6993395" cy="3689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nb-NO" sz="1600" b="1"/>
              <a:t>Formål: utarbeide løsningsforslag til identifiserte </a:t>
            </a:r>
            <a:r>
              <a:rPr lang="nb-NO" sz="1600" b="1">
                <a:solidFill>
                  <a:schemeClr val="tx1">
                    <a:lumMod val="75000"/>
                    <a:lumOff val="25000"/>
                  </a:schemeClr>
                </a:solidFill>
              </a:rPr>
              <a:t>fokusområder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0EBFEDF6-A3E6-44F2-A1D2-8EC0C06F8FE9}"/>
              </a:ext>
            </a:extLst>
          </p:cNvPr>
          <p:cNvSpPr txBox="1">
            <a:spLocks/>
          </p:cNvSpPr>
          <p:nvPr/>
        </p:nvSpPr>
        <p:spPr>
          <a:xfrm>
            <a:off x="401847" y="397785"/>
            <a:ext cx="11224996" cy="492443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3200"/>
              <a:t>Design Sprint</a:t>
            </a:r>
          </a:p>
        </p:txBody>
      </p:sp>
    </p:spTree>
    <p:extLst>
      <p:ext uri="{BB962C8B-B14F-4D97-AF65-F5344CB8AC3E}">
        <p14:creationId xmlns:p14="http://schemas.microsoft.com/office/powerpoint/2010/main" val="30896388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7760377"/>
              </p:ext>
            </p:extLst>
          </p:nvPr>
        </p:nvGraphicFramePr>
        <p:xfrm>
          <a:off x="401849" y="1211668"/>
          <a:ext cx="5414753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Prosess for tilbakemeldinger og forankring av forsla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BEB01B40-0F35-4A65-9582-E1D495C165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29602" y="472271"/>
            <a:ext cx="4916218" cy="5913458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163074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11090D-7B0A-40C7-9E84-A4370E99F9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11090D-7B0A-40C7-9E84-A4370E99F9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563602-0B6D-4581-B88A-9143B5BAAD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4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86608" y="3239231"/>
            <a:ext cx="10818784" cy="830997"/>
          </a:xfrm>
        </p:spPr>
        <p:txBody>
          <a:bodyPr/>
          <a:lstStyle/>
          <a:p>
            <a:pPr algn="ctr"/>
            <a:r>
              <a:rPr lang="nb-NO">
                <a:solidFill>
                  <a:schemeClr val="bg1"/>
                </a:solidFill>
              </a:rPr>
              <a:t>Løsningsforslag</a:t>
            </a:r>
            <a:endParaRPr lang="nb-NO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7894" y="6397614"/>
            <a:ext cx="3057098" cy="24501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8694C40-2A8D-4DC4-92C6-3D3387A17632}"/>
              </a:ext>
            </a:extLst>
          </p:cNvPr>
          <p:cNvSpPr/>
          <p:nvPr/>
        </p:nvSpPr>
        <p:spPr>
          <a:xfrm>
            <a:off x="5490707" y="6059060"/>
            <a:ext cx="121058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600">
                <a:solidFill>
                  <a:srgbClr val="FFFFFF"/>
                </a:solidFill>
                <a:latin typeface="Arial" panose="020B0604020202020204"/>
              </a:rPr>
              <a:t>18</a:t>
            </a:r>
            <a:r>
              <a:rPr kumimoji="0" lang="nb-NO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03.2021</a:t>
            </a:r>
          </a:p>
        </p:txBody>
      </p:sp>
    </p:spTree>
    <p:extLst>
      <p:ext uri="{BB962C8B-B14F-4D97-AF65-F5344CB8AC3E}">
        <p14:creationId xmlns:p14="http://schemas.microsoft.com/office/powerpoint/2010/main" val="29760530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574lOg5DD8uSoG1oWe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RWK886cFppTN.XWca2f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3JxevHTua4PKhhoomvb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P_1wyeiLd6GuG03BG1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1789792341808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qyK9lns9TN8r5uoMown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qyK9lns9TN8r5uoMown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qyK9lns9TN8r5uoMow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qyK9lns9TN8r5uoMown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tMPsl6POnMsz.2HJs8Q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shLOCLkTDtdFw8ApM_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xDk624likt.gBdsneV2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xDk624likt.gBdsneV2A"/>
</p:tagLst>
</file>

<file path=ppt/theme/theme1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FormConfiguration><![CDATA[{"formFields":[],"formDataEntries":[]}]]></TemplafySlideFormConfiguration>
</file>

<file path=customXml/item11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2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FormConfiguration><![CDATA[{"formFields":[],"formDataEntries":[]}]]></TemplafySlideFormConfiguration>
</file>

<file path=customXml/item15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TemplafySlideTemplateConfiguration><![CDATA[{"documentContentValidatorConfiguration":{"enableDocumentContentValidator":false,"documentContentValidatorVersion":0},"elementsMetadata":[],"slideId":"637274689481801232","enableDocumentContentUpdater":true,"version":"1.1"}]]></TemplafySlideTemplate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SlideFormConfiguration><![CDATA[{"formFields":[],"formDataEntries":[]}]]></TemplafySlideFormConfiguratio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.xml><?xml version="1.0" encoding="utf-8"?>
<TemplafyTemplateConfiguration><![CDATA[{"elementsMetadata":[],"transformationConfigurations":[{"language":"{{UserProfile.DocumentLanguage.Iana}}","disableUpdates":false,"type":"proofingLanguage"}],"templateName":"Presentation screen (16-9)","templateDescription":"","enableDocumentContentUpdater":true,"version":"1.1"}]]></TemplafyTemplateConfiguration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23.xml><?xml version="1.0" encoding="utf-8"?>
<TemplafyFormConfiguration><![CDATA[{"formFields":[{"dataSource":"Audience","displayColumn":"audience","hideIfNoUserInteractionRequired":false,"distinct":true,"required":true,"autoSelectFirstOption":false,"type":"dropDown","name":"Audience","label":"External/internal","helpTexts":{"prefix":"","postfix":""},"spacing":{},"fullyQualifiedName":"Audience"}],"formDataEntries":[]}]]></TemplafyFormConfiguration>
</file>

<file path=customXml/item3.xml><?xml version="1.0" encoding="utf-8"?>
<TemplafySlideTemplateConfiguration><![CDATA[{"documentContentValidatorConfiguration":{"enableDocumentContentValidator":false,"documentContentValidatorVersion":0},"elementsMetadata":[],"slideId":"637274689481644962","enableDocumentContentUpdater":true,"version":"1.1"}]]></TemplafySlideTemplateConfiguration>
</file>

<file path=customXml/item4.xml><?xml version="1.0" encoding="utf-8"?>
<TemplafySlideTemplateConfiguration><![CDATA[{"documentContentValidatorConfiguration":{"enableDocumentContentValidator":false,"documentContentValidatorVersion":0},"elementsMetadata":[],"slideId":"637274689482285485","enableDocumentContentUpdater":true,"version":"1.1"}]]></TemplafySlideTemplate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TemplafySlideTemplateConfiguration><![CDATA[{"documentContentValidatorConfiguration":{"enableDocumentContentValidator":false,"documentContentValidatorVersion":0},"elementsMetadata":[],"slideId":"637274689481644961","enableDocumentContentUpdater":true,"version":"1.1"}]]></TemplafySlideTemplateConfiguration>
</file>

<file path=customXml/item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1" ma:contentTypeDescription="Create a new document." ma:contentTypeScope="" ma:versionID="e5cc35c2b93ef9b5cbd271e6acbabea2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f2ce806dfeefec15707a3ae1b2745845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9.xml><?xml version="1.0" encoding="utf-8"?>
<TemplafySlideTemplateConfiguration><![CDATA[{"documentContentValidatorConfiguration":{"enableDocumentContentValidator":false,"documentContentValidatorVersion":0},"elementsMetadata":[],"slideId":"637274689482113909","enableDocumentContentUpdater":true,"version":"1.1"}]]></TemplafySlideTemplateConfiguration>
</file>

<file path=customXml/itemProps1.xml><?xml version="1.0" encoding="utf-8"?>
<ds:datastoreItem xmlns:ds="http://schemas.openxmlformats.org/officeDocument/2006/customXml" ds:itemID="{73E560EA-D040-407D-89F2-11DBB1CFF549}">
  <ds:schemaRefs/>
</ds:datastoreItem>
</file>

<file path=customXml/itemProps10.xml><?xml version="1.0" encoding="utf-8"?>
<ds:datastoreItem xmlns:ds="http://schemas.openxmlformats.org/officeDocument/2006/customXml" ds:itemID="{E3206C3F-9075-4ED1-A9D7-768CD599C06F}">
  <ds:schemaRefs/>
</ds:datastoreItem>
</file>

<file path=customXml/itemProps11.xml><?xml version="1.0" encoding="utf-8"?>
<ds:datastoreItem xmlns:ds="http://schemas.openxmlformats.org/officeDocument/2006/customXml" ds:itemID="{70F4ED2E-503E-45E3-825C-9B04A23593EA}">
  <ds:schemaRefs/>
</ds:datastoreItem>
</file>

<file path=customXml/itemProps12.xml><?xml version="1.0" encoding="utf-8"?>
<ds:datastoreItem xmlns:ds="http://schemas.openxmlformats.org/officeDocument/2006/customXml" ds:itemID="{6C87A078-5F40-4D7F-9BEF-6750FB94DC63}">
  <ds:schemaRefs/>
</ds:datastoreItem>
</file>

<file path=customXml/itemProps13.xml><?xml version="1.0" encoding="utf-8"?>
<ds:datastoreItem xmlns:ds="http://schemas.openxmlformats.org/officeDocument/2006/customXml" ds:itemID="{A010FBFC-ED9D-4776-849D-81EABF9D112A}">
  <ds:schemaRefs/>
</ds:datastoreItem>
</file>

<file path=customXml/itemProps14.xml><?xml version="1.0" encoding="utf-8"?>
<ds:datastoreItem xmlns:ds="http://schemas.openxmlformats.org/officeDocument/2006/customXml" ds:itemID="{4DA6E810-9C1A-46BC-9F60-7AEE6D385CCE}">
  <ds:schemaRefs/>
</ds:datastoreItem>
</file>

<file path=customXml/itemProps15.xml><?xml version="1.0" encoding="utf-8"?>
<ds:datastoreItem xmlns:ds="http://schemas.openxmlformats.org/officeDocument/2006/customXml" ds:itemID="{293949B0-9D74-4475-85DB-ED8AE65ED4BE}">
  <ds:schemaRefs/>
</ds:datastoreItem>
</file>

<file path=customXml/itemProps16.xml><?xml version="1.0" encoding="utf-8"?>
<ds:datastoreItem xmlns:ds="http://schemas.openxmlformats.org/officeDocument/2006/customXml" ds:itemID="{B25CBE9C-579C-4D62-9791-670FFEF0C740}">
  <ds:schemaRefs/>
</ds:datastoreItem>
</file>

<file path=customXml/itemProps17.xml><?xml version="1.0" encoding="utf-8"?>
<ds:datastoreItem xmlns:ds="http://schemas.openxmlformats.org/officeDocument/2006/customXml" ds:itemID="{48FCFEE4-2E78-40CD-A932-180CFC151F96}">
  <ds:schemaRefs/>
</ds:datastoreItem>
</file>

<file path=customXml/itemProps18.xml><?xml version="1.0" encoding="utf-8"?>
<ds:datastoreItem xmlns:ds="http://schemas.openxmlformats.org/officeDocument/2006/customXml" ds:itemID="{74DD7968-5338-4A7C-9AB7-71E317FAD14A}">
  <ds:schemaRefs/>
</ds:datastoreItem>
</file>

<file path=customXml/itemProps19.xml><?xml version="1.0" encoding="utf-8"?>
<ds:datastoreItem xmlns:ds="http://schemas.openxmlformats.org/officeDocument/2006/customXml" ds:itemID="{98A6CD30-0308-49AC-9087-7CF9A48AE377}">
  <ds:schemaRefs/>
</ds:datastoreItem>
</file>

<file path=customXml/itemProps2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20.xml><?xml version="1.0" encoding="utf-8"?>
<ds:datastoreItem xmlns:ds="http://schemas.openxmlformats.org/officeDocument/2006/customXml" ds:itemID="{D49E55AD-80F4-4EC9-8430-FD8E8D9201DC}">
  <ds:schemaRefs/>
</ds:datastoreItem>
</file>

<file path=customXml/itemProps21.xml><?xml version="1.0" encoding="utf-8"?>
<ds:datastoreItem xmlns:ds="http://schemas.openxmlformats.org/officeDocument/2006/customXml" ds:itemID="{B8637C36-4996-4BF0-9817-9AE4E45FB3C9}">
  <ds:schemaRefs/>
</ds:datastoreItem>
</file>

<file path=customXml/itemProps22.xml><?xml version="1.0" encoding="utf-8"?>
<ds:datastoreItem xmlns:ds="http://schemas.openxmlformats.org/officeDocument/2006/customXml" ds:itemID="{33A9D2B1-910A-4890-A149-E85A43544B5D}">
  <ds:schemaRefs/>
</ds:datastoreItem>
</file>

<file path=customXml/itemProps23.xml><?xml version="1.0" encoding="utf-8"?>
<ds:datastoreItem xmlns:ds="http://schemas.openxmlformats.org/officeDocument/2006/customXml" ds:itemID="{EBD3D5FB-AEE0-46A7-8289-818A621CDF36}">
  <ds:schemaRefs/>
</ds:datastoreItem>
</file>

<file path=customXml/itemProps3.xml><?xml version="1.0" encoding="utf-8"?>
<ds:datastoreItem xmlns:ds="http://schemas.openxmlformats.org/officeDocument/2006/customXml" ds:itemID="{4212848C-530B-4852-8730-679B69C20DA2}">
  <ds:schemaRefs/>
</ds:datastoreItem>
</file>

<file path=customXml/itemProps4.xml><?xml version="1.0" encoding="utf-8"?>
<ds:datastoreItem xmlns:ds="http://schemas.openxmlformats.org/officeDocument/2006/customXml" ds:itemID="{D095A0A8-BBFC-46BD-B6C9-F9F771063A0C}">
  <ds:schemaRefs/>
</ds:datastoreItem>
</file>

<file path=customXml/itemProps5.xml><?xml version="1.0" encoding="utf-8"?>
<ds:datastoreItem xmlns:ds="http://schemas.openxmlformats.org/officeDocument/2006/customXml" ds:itemID="{EE03465F-F7D7-4591-B744-AA3FB7C55319}">
  <ds:schemaRefs/>
</ds:datastoreItem>
</file>

<file path=customXml/itemProps6.xml><?xml version="1.0" encoding="utf-8"?>
<ds:datastoreItem xmlns:ds="http://schemas.openxmlformats.org/officeDocument/2006/customXml" ds:itemID="{01E8759C-33B8-4AFE-B1FD-690677E2D93B}">
  <ds:schemaRefs/>
</ds:datastoreItem>
</file>

<file path=customXml/itemProps7.xml><?xml version="1.0" encoding="utf-8"?>
<ds:datastoreItem xmlns:ds="http://schemas.openxmlformats.org/officeDocument/2006/customXml" ds:itemID="{DAFF16FF-2C72-428B-854F-2D457123BE47}">
  <ds:schemaRefs>
    <ds:schemaRef ds:uri="5a015d52-1a8c-45a9-b108-712092158594"/>
    <ds:schemaRef ds:uri="92f31348-0739-4467-8087-a9e650b26e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8.xml><?xml version="1.0" encoding="utf-8"?>
<ds:datastoreItem xmlns:ds="http://schemas.openxmlformats.org/officeDocument/2006/customXml" ds:itemID="{BA05E49B-70B5-4FEC-89D5-F69F52BE5B81}">
  <ds:schemaRefs>
    <ds:schemaRef ds:uri="5a015d52-1a8c-45a9-b108-712092158594"/>
    <ds:schemaRef ds:uri="92f31348-0739-4467-8087-a9e650b26e6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.xml><?xml version="1.0" encoding="utf-8"?>
<ds:datastoreItem xmlns:ds="http://schemas.openxmlformats.org/officeDocument/2006/customXml" ds:itemID="{8F10D2E3-BD5E-41A7-9B58-448C4704E42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588</Words>
  <Application>Microsoft Office PowerPoint</Application>
  <PresentationFormat>Widescreen</PresentationFormat>
  <Paragraphs>379</Paragraphs>
  <Slides>25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36" baseType="lpstr">
      <vt:lpstr>Arial</vt:lpstr>
      <vt:lpstr>Arial (body)</vt:lpstr>
      <vt:lpstr>Arial,Sans-Serif</vt:lpstr>
      <vt:lpstr>Calibri</vt:lpstr>
      <vt:lpstr>Calibri Light</vt:lpstr>
      <vt:lpstr>Poppins</vt:lpstr>
      <vt:lpstr>Segoe UI</vt:lpstr>
      <vt:lpstr>Wingdings 2</vt:lpstr>
      <vt:lpstr>1_Office-tema</vt:lpstr>
      <vt:lpstr>2_Office-tema</vt:lpstr>
      <vt:lpstr>think-cell Slide</vt:lpstr>
      <vt:lpstr>Lønn og lønnsnær HR</vt:lpstr>
      <vt:lpstr>Velkommen!</vt:lpstr>
      <vt:lpstr>Agenda</vt:lpstr>
      <vt:lpstr>Agenda</vt:lpstr>
      <vt:lpstr>Mål for dagen </vt:lpstr>
      <vt:lpstr>Agenda</vt:lpstr>
      <vt:lpstr>PowerPoint Presentation</vt:lpstr>
      <vt:lpstr>Agenda</vt:lpstr>
      <vt:lpstr>Løsningsforslag</vt:lpstr>
      <vt:lpstr>Flyt for timelønnede og oppdragstakere</vt:lpstr>
      <vt:lpstr>Flyt for midlertidige og faste ansatte </vt:lpstr>
      <vt:lpstr>PowerPoint Presentation</vt:lpstr>
      <vt:lpstr>Løsningsforslag: Lønn og Lønnsnær HR </vt:lpstr>
      <vt:lpstr>Hvorfor skal NTNU gå for denne løsningen?</vt:lpstr>
      <vt:lpstr>Risikovurdering av løsningsforslaget</vt:lpstr>
      <vt:lpstr>Risiko</vt:lpstr>
      <vt:lpstr>Suksessfaktorer</vt:lpstr>
      <vt:lpstr>Suksessfaktorer</vt:lpstr>
      <vt:lpstr>Hvordan skal en slik fellestjeneste få til god bruker/-lederstøtte?</vt:lpstr>
      <vt:lpstr>Agenda</vt:lpstr>
      <vt:lpstr>Prosess for tilbakemeldinger og forankring av forslag Lønn og lønnsnær HR</vt:lpstr>
      <vt:lpstr>Agenda</vt:lpstr>
      <vt:lpstr>Spørsmål og svar til løsningsforslaget</vt:lpstr>
      <vt:lpstr>Agenda</vt:lpstr>
      <vt:lpstr>Takk for deltakelsen!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 ØL Innføring</dc:title>
  <dc:creator>Prestegard, Tor Sivertsen</dc:creator>
  <cp:lastModifiedBy>Merete Aagesen</cp:lastModifiedBy>
  <cp:revision>3</cp:revision>
  <cp:lastPrinted>2014-06-25T02:16:22Z</cp:lastPrinted>
  <dcterms:created xsi:type="dcterms:W3CDTF">2021-02-05T11:28:59Z</dcterms:created>
  <dcterms:modified xsi:type="dcterms:W3CDTF">2021-03-18T12:49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TemplafyTimeStamp">
    <vt:lpwstr>2020-07-31T08:45:09.5009950Z</vt:lpwstr>
  </property>
</Properties>
</file>